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ppt/notesSlides/notesSlide65.xml" ContentType="application/vnd.openxmlformats-officedocument.presentationml.notesSlide+xml"/>
  <Override PartName="/ppt/notesSlides/notesSlide66.xml" ContentType="application/vnd.openxmlformats-officedocument.presentationml.notesSlide+xml"/>
  <Override PartName="/ppt/notesSlides/notesSlide67.xml" ContentType="application/vnd.openxmlformats-officedocument.presentationml.notesSlide+xml"/>
  <Override PartName="/ppt/notesSlides/notesSlide68.xml" ContentType="application/vnd.openxmlformats-officedocument.presentationml.notesSlide+xml"/>
  <Override PartName="/ppt/notesSlides/notesSlide69.xml" ContentType="application/vnd.openxmlformats-officedocument.presentationml.notesSlide+xml"/>
  <Override PartName="/ppt/notesSlides/notesSlide70.xml" ContentType="application/vnd.openxmlformats-officedocument.presentationml.notesSlide+xml"/>
  <Override PartName="/ppt/notesSlides/notesSlide7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9" r:id="rId2"/>
    <p:sldMasterId id="2147483691" r:id="rId3"/>
  </p:sldMasterIdLst>
  <p:notesMasterIdLst>
    <p:notesMasterId r:id="rId75"/>
  </p:notesMasterIdLst>
  <p:sldIdLst>
    <p:sldId id="584" r:id="rId4"/>
    <p:sldId id="586" r:id="rId5"/>
    <p:sldId id="585" r:id="rId6"/>
    <p:sldId id="587" r:id="rId7"/>
    <p:sldId id="588" r:id="rId8"/>
    <p:sldId id="589" r:id="rId9"/>
    <p:sldId id="590" r:id="rId10"/>
    <p:sldId id="591" r:id="rId11"/>
    <p:sldId id="592" r:id="rId12"/>
    <p:sldId id="598" r:id="rId13"/>
    <p:sldId id="593" r:id="rId14"/>
    <p:sldId id="550" r:id="rId15"/>
    <p:sldId id="557" r:id="rId16"/>
    <p:sldId id="558" r:id="rId17"/>
    <p:sldId id="559" r:id="rId18"/>
    <p:sldId id="560" r:id="rId19"/>
    <p:sldId id="561" r:id="rId20"/>
    <p:sldId id="562" r:id="rId21"/>
    <p:sldId id="563" r:id="rId22"/>
    <p:sldId id="564" r:id="rId23"/>
    <p:sldId id="565" r:id="rId24"/>
    <p:sldId id="566" r:id="rId25"/>
    <p:sldId id="567" r:id="rId26"/>
    <p:sldId id="551" r:id="rId27"/>
    <p:sldId id="466" r:id="rId28"/>
    <p:sldId id="467" r:id="rId29"/>
    <p:sldId id="470" r:id="rId30"/>
    <p:sldId id="471" r:id="rId31"/>
    <p:sldId id="494" r:id="rId32"/>
    <p:sldId id="495" r:id="rId33"/>
    <p:sldId id="472" r:id="rId34"/>
    <p:sldId id="496" r:id="rId35"/>
    <p:sldId id="473" r:id="rId36"/>
    <p:sldId id="497" r:id="rId37"/>
    <p:sldId id="474" r:id="rId38"/>
    <p:sldId id="475" r:id="rId39"/>
    <p:sldId id="476" r:id="rId40"/>
    <p:sldId id="477" r:id="rId41"/>
    <p:sldId id="552" r:id="rId42"/>
    <p:sldId id="568" r:id="rId43"/>
    <p:sldId id="569" r:id="rId44"/>
    <p:sldId id="570" r:id="rId45"/>
    <p:sldId id="571" r:id="rId46"/>
    <p:sldId id="572" r:id="rId47"/>
    <p:sldId id="573" r:id="rId48"/>
    <p:sldId id="599" r:id="rId49"/>
    <p:sldId id="574" r:id="rId50"/>
    <p:sldId id="553" r:id="rId51"/>
    <p:sldId id="519" r:id="rId52"/>
    <p:sldId id="478" r:id="rId53"/>
    <p:sldId id="539" r:id="rId54"/>
    <p:sldId id="540" r:id="rId55"/>
    <p:sldId id="541" r:id="rId56"/>
    <p:sldId id="483" r:id="rId57"/>
    <p:sldId id="517" r:id="rId58"/>
    <p:sldId id="518" r:id="rId59"/>
    <p:sldId id="546" r:id="rId60"/>
    <p:sldId id="542" r:id="rId61"/>
    <p:sldId id="554" r:id="rId62"/>
    <p:sldId id="575" r:id="rId63"/>
    <p:sldId id="576" r:id="rId64"/>
    <p:sldId id="577" r:id="rId65"/>
    <p:sldId id="578" r:id="rId66"/>
    <p:sldId id="579" r:id="rId67"/>
    <p:sldId id="580" r:id="rId68"/>
    <p:sldId id="581" r:id="rId69"/>
    <p:sldId id="600" r:id="rId70"/>
    <p:sldId id="583" r:id="rId71"/>
    <p:sldId id="595" r:id="rId72"/>
    <p:sldId id="596" r:id="rId73"/>
    <p:sldId id="597" r:id="rId74"/>
  </p:sldIdLst>
  <p:sldSz cx="9144000" cy="6858000" type="screen4x3"/>
  <p:notesSz cx="6797675" cy="9926638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256" autoAdjust="0"/>
    <p:restoredTop sz="91297" autoAdjust="0"/>
  </p:normalViewPr>
  <p:slideViewPr>
    <p:cSldViewPr>
      <p:cViewPr>
        <p:scale>
          <a:sx n="100" d="100"/>
          <a:sy n="100" d="100"/>
        </p:scale>
        <p:origin x="-486" y="7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28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76" Type="http://schemas.openxmlformats.org/officeDocument/2006/relationships/presProps" Target="presProp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slide" Target="slides/slide71.xml"/><Relationship Id="rId79" Type="http://schemas.openxmlformats.org/officeDocument/2006/relationships/tableStyles" Target="tableStyles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D71BE4C-1EA1-4471-880A-BD756B057818}" type="datetimeFigureOut">
              <a:rPr lang="en-GB" smtClean="0"/>
              <a:t>02/12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3E8F-1EE4-44A1-A378-1CE6D553A39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27908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6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6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7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8512840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1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690875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1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851284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64899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2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2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2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2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2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439403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3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3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3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3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3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3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3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3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3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3103183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4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4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4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4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4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4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4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4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4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49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46818787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50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5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5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5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5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5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5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57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>
                <a:solidFill>
                  <a:prstClr val="black"/>
                </a:solidFill>
              </a:rPr>
              <a:pPr/>
              <a:t>5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9406775"/>
      </p:ext>
    </p:extLst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5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49992299"/>
      </p:ext>
    </p:extLst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6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6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6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6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6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6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6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6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6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6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6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6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Tx/>
              <a:buNone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6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6100572"/>
      </p:ext>
    </p:extLst>
  </p:cSld>
  <p:clrMapOvr>
    <a:masterClrMapping/>
  </p:clrMapOvr>
</p:notes>
</file>

<file path=ppt/notesSlides/notesSlide6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>
                <a:solidFill>
                  <a:prstClr val="black"/>
                </a:solidFill>
              </a:rPr>
              <a:pPr/>
              <a:t>69</a:t>
            </a:fld>
            <a:endParaRPr lang="sv-SE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0505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18446236"/>
      </p:ext>
    </p:extLst>
  </p:cSld>
  <p:clrMapOvr>
    <a:masterClrMapping/>
  </p:clrMapOvr>
</p:notes>
</file>

<file path=ppt/notesSlides/notesSlide7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70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85128408"/>
      </p:ext>
    </p:extLst>
  </p:cSld>
  <p:clrMapOvr>
    <a:masterClrMapping/>
  </p:clrMapOvr>
</p:notes>
</file>

<file path=ppt/notesSlides/notesSlide7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7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851284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186CD8-2B5F-47D2-B024-698315872481}" type="slidenum">
              <a:rPr lang="sv-SE" smtClean="0"/>
              <a:pPr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845123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993E8F-1EE4-44A1-A378-1CE6D553A39A}" type="slidenum">
              <a:rPr lang="en-GB" smtClean="0"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3668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07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sv-SE" noProof="0" smtClean="0"/>
          </a:p>
        </p:txBody>
      </p:sp>
      <p:sp>
        <p:nvSpPr>
          <p:cNvPr id="3307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7577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2263" y="1876425"/>
            <a:ext cx="3810000" cy="3895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84663" y="1876425"/>
            <a:ext cx="3810000" cy="3895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205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11" name="Rectangle 1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00CC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2" name="Rectangle 1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9D618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 103"/>
          <p:cNvGrpSpPr>
            <a:grpSpLocks/>
          </p:cNvGrpSpPr>
          <p:nvPr userDrawn="1"/>
        </p:nvGrpSpPr>
        <p:grpSpPr bwMode="auto">
          <a:xfrm>
            <a:off x="-1" y="1246188"/>
            <a:ext cx="125413" cy="4859337"/>
            <a:chOff x="0" y="785"/>
            <a:chExt cx="79" cy="3061"/>
          </a:xfrm>
        </p:grpSpPr>
        <p:sp>
          <p:nvSpPr>
            <p:cNvPr id="15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6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7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8" name="Slide Number Placeholder 17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9" name="Date Placeholder 18"/>
          <p:cNvSpPr>
            <a:spLocks noGrp="1" noChangeArrowheads="1"/>
          </p:cNvSpPr>
          <p:nvPr>
            <p:ph type="dt" sz="half" idx="11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960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661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4"/>
          <p:cNvGrpSpPr>
            <a:grpSpLocks/>
          </p:cNvGrpSpPr>
          <p:nvPr userDrawn="1"/>
        </p:nvGrpSpPr>
        <p:grpSpPr bwMode="auto">
          <a:xfrm>
            <a:off x="0" y="1246188"/>
            <a:ext cx="125413" cy="4870450"/>
            <a:chOff x="0" y="785"/>
            <a:chExt cx="79" cy="3068"/>
          </a:xfrm>
        </p:grpSpPr>
        <p:sp>
          <p:nvSpPr>
            <p:cNvPr id="6" name="Rectangle 4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A50021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7" name="Rectangle 41"/>
            <p:cNvSpPr>
              <a:spLocks noChangeAspect="1" noChangeArrowheads="1"/>
            </p:cNvSpPr>
            <p:nvPr/>
          </p:nvSpPr>
          <p:spPr bwMode="auto">
            <a:xfrm>
              <a:off x="0" y="2847"/>
              <a:ext cx="79" cy="1006"/>
            </a:xfrm>
            <a:prstGeom prst="rect">
              <a:avLst/>
            </a:prstGeom>
            <a:solidFill>
              <a:srgbClr val="008000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8000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8" name="Rectangle 4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chemeClr val="accent2">
                <a:alpha val="7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accent2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0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918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9" name="Date Placeholder 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876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9" name="Date Placeholder 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2516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8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080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88" y="441325"/>
            <a:ext cx="2098675" cy="53308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9088" y="441325"/>
            <a:ext cx="6146800" cy="53308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0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5010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19088" y="441325"/>
            <a:ext cx="8397875" cy="5330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7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510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sv-SE" noProof="0" smtClean="0"/>
          </a:p>
        </p:txBody>
      </p:sp>
      <p:sp>
        <p:nvSpPr>
          <p:cNvPr id="6144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40828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106497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48956"/>
            <a:ext cx="128587" cy="4870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Slide Number Placeholder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784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8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2359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9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592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2263" y="1876425"/>
            <a:ext cx="3810000" cy="3895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84663" y="1876425"/>
            <a:ext cx="3810000" cy="3895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0" name="Date Placeholder 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9022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2" name="Date Placeholder 9"/>
          <p:cNvSpPr>
            <a:spLocks noGrp="1" noChangeArrowheads="1"/>
          </p:cNvSpPr>
          <p:nvPr>
            <p:ph type="dt" sz="half" idx="11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81286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2379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6" name="Date Placeholder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8175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9" name="Date Placeholder 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265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9" name="Date Placeholder 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4703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8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70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441325"/>
            <a:ext cx="2097087" cy="53308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9088" y="441325"/>
            <a:ext cx="6143625" cy="53308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8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325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8" name="Group 54"/>
          <p:cNvGrpSpPr>
            <a:grpSpLocks/>
          </p:cNvGrpSpPr>
          <p:nvPr userDrawn="1"/>
        </p:nvGrpSpPr>
        <p:grpSpPr bwMode="auto">
          <a:xfrm>
            <a:off x="0" y="1246188"/>
            <a:ext cx="125413" cy="4870450"/>
            <a:chOff x="0" y="785"/>
            <a:chExt cx="79" cy="3068"/>
          </a:xfrm>
        </p:grpSpPr>
        <p:sp>
          <p:nvSpPr>
            <p:cNvPr id="9" name="Rectangle 5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4DCBB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0" name="Rectangle 51"/>
            <p:cNvSpPr>
              <a:spLocks noChangeAspect="1" noChangeArrowheads="1"/>
            </p:cNvSpPr>
            <p:nvPr/>
          </p:nvSpPr>
          <p:spPr bwMode="auto">
            <a:xfrm>
              <a:off x="0" y="2847"/>
              <a:ext cx="79" cy="1006"/>
            </a:xfrm>
            <a:prstGeom prst="rect">
              <a:avLst/>
            </a:prstGeom>
            <a:solidFill>
              <a:srgbClr val="337C9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1" name="Rectangle 5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FF9F3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2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4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992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 preferRelativeResize="0"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9100" y="1965325"/>
            <a:ext cx="5738813" cy="792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307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92150" y="3705225"/>
            <a:ext cx="7737475" cy="1143000"/>
          </a:xfrm>
        </p:spPr>
        <p:txBody>
          <a:bodyPr/>
          <a:lstStyle>
            <a:lvl1pPr algn="ctr">
              <a:defRPr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sv-SE" noProof="0" smtClean="0"/>
          </a:p>
        </p:txBody>
      </p:sp>
      <p:sp>
        <p:nvSpPr>
          <p:cNvPr id="3307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60488" y="5067300"/>
            <a:ext cx="6400800" cy="1752600"/>
          </a:xfrm>
        </p:spPr>
        <p:txBody>
          <a:bodyPr/>
          <a:lstStyle>
            <a:lvl1pPr marL="0" indent="0" algn="ctr">
              <a:buFont typeface="Symbol" pitchFamily="18" charset="2"/>
              <a:buNone/>
              <a:defRPr sz="2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88380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106497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48956"/>
            <a:ext cx="128587" cy="4870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Slide Number Placeholder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882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8" name="Group 54"/>
          <p:cNvGrpSpPr>
            <a:grpSpLocks/>
          </p:cNvGrpSpPr>
          <p:nvPr userDrawn="1"/>
        </p:nvGrpSpPr>
        <p:grpSpPr bwMode="auto">
          <a:xfrm>
            <a:off x="0" y="1246188"/>
            <a:ext cx="125413" cy="4870450"/>
            <a:chOff x="0" y="785"/>
            <a:chExt cx="79" cy="3068"/>
          </a:xfrm>
        </p:grpSpPr>
        <p:sp>
          <p:nvSpPr>
            <p:cNvPr id="9" name="Rectangle 5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4DCBB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0" name="Rectangle 51"/>
            <p:cNvSpPr>
              <a:spLocks noChangeAspect="1" noChangeArrowheads="1"/>
            </p:cNvSpPr>
            <p:nvPr/>
          </p:nvSpPr>
          <p:spPr bwMode="auto">
            <a:xfrm>
              <a:off x="0" y="2847"/>
              <a:ext cx="79" cy="1006"/>
            </a:xfrm>
            <a:prstGeom prst="rect">
              <a:avLst/>
            </a:prstGeom>
            <a:solidFill>
              <a:srgbClr val="337C9D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1" name="Rectangle 5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FF9F3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2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4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906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106497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48956"/>
            <a:ext cx="128587" cy="4870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oup 103"/>
          <p:cNvGrpSpPr>
            <a:grpSpLocks/>
          </p:cNvGrpSpPr>
          <p:nvPr userDrawn="1"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9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0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1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2" name="Slide Number Placeholder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1952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8" name="Group 44"/>
          <p:cNvGrpSpPr>
            <a:grpSpLocks/>
          </p:cNvGrpSpPr>
          <p:nvPr userDrawn="1"/>
        </p:nvGrpSpPr>
        <p:grpSpPr bwMode="auto">
          <a:xfrm>
            <a:off x="0" y="1246188"/>
            <a:ext cx="125413" cy="4870450"/>
            <a:chOff x="0" y="785"/>
            <a:chExt cx="79" cy="3068"/>
          </a:xfrm>
        </p:grpSpPr>
        <p:sp>
          <p:nvSpPr>
            <p:cNvPr id="9" name="Rectangle 4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A50021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0" name="Rectangle 41"/>
            <p:cNvSpPr>
              <a:spLocks noChangeAspect="1" noChangeArrowheads="1"/>
            </p:cNvSpPr>
            <p:nvPr/>
          </p:nvSpPr>
          <p:spPr bwMode="auto">
            <a:xfrm>
              <a:off x="0" y="2847"/>
              <a:ext cx="79" cy="1006"/>
            </a:xfrm>
            <a:prstGeom prst="rect">
              <a:avLst/>
            </a:prstGeom>
            <a:solidFill>
              <a:srgbClr val="008000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8000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1" name="Rectangle 4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chemeClr val="accent2">
                <a:alpha val="7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accent2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2" name="Slide Number Placeholder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18287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8" name="Group 9"/>
          <p:cNvGrpSpPr>
            <a:grpSpLocks/>
          </p:cNvGrpSpPr>
          <p:nvPr userDrawn="1"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9" name="Rectangle 1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00CC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0" name="Rectangle 1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9D618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1" name="Rectangle 1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sp>
        <p:nvSpPr>
          <p:cNvPr id="12" name="Slide Number Placeholder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6848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8" name="Group 9"/>
          <p:cNvGrpSpPr>
            <a:grpSpLocks/>
          </p:cNvGrpSpPr>
          <p:nvPr userDrawn="1"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9" name="Rectangle 1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00CC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0" name="Rectangle 1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9D618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1" name="Rectangle 1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sp>
        <p:nvSpPr>
          <p:cNvPr id="12" name="Slide Number Placeholder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77048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12" name="Group 23"/>
          <p:cNvGrpSpPr>
            <a:grpSpLocks/>
          </p:cNvGrpSpPr>
          <p:nvPr userDrawn="1"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13" name="Rectangle 2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B1BC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4" name="Rectangle 2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9D618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5" name="Rectangle 2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6" name="Slide Number Placeholder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7" name="Date Placeholder 1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349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8" name="Date Placeholder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1451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22263" y="1876425"/>
            <a:ext cx="3810000" cy="3895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84663" y="1876425"/>
            <a:ext cx="3810000" cy="3895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8" name="Slide Number Placeholder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9" name="Date Placeholder 8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802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pic>
        <p:nvPicPr>
          <p:cNvPr id="106497" name="Picture 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248956"/>
            <a:ext cx="128587" cy="4870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8" name="Group 103"/>
          <p:cNvGrpSpPr>
            <a:grpSpLocks/>
          </p:cNvGrpSpPr>
          <p:nvPr userDrawn="1"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9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0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1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2" name="Slide Number Placeholder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977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10" name="Group 9"/>
          <p:cNvGrpSpPr>
            <a:grpSpLocks/>
          </p:cNvGrpSpPr>
          <p:nvPr userDrawn="1"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11" name="Rectangle 1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00CC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2" name="Rectangle 1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9D618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3" name="Rectangle 1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grpSp>
        <p:nvGrpSpPr>
          <p:cNvPr id="14" name="Group 103"/>
          <p:cNvGrpSpPr>
            <a:grpSpLocks/>
          </p:cNvGrpSpPr>
          <p:nvPr userDrawn="1"/>
        </p:nvGrpSpPr>
        <p:grpSpPr bwMode="auto">
          <a:xfrm>
            <a:off x="-1" y="1246188"/>
            <a:ext cx="125413" cy="4859337"/>
            <a:chOff x="0" y="785"/>
            <a:chExt cx="79" cy="3061"/>
          </a:xfrm>
        </p:grpSpPr>
        <p:sp>
          <p:nvSpPr>
            <p:cNvPr id="15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6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7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8" name="Slide Number Placeholder 17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9" name="Date Placeholder 18"/>
          <p:cNvSpPr>
            <a:spLocks noGrp="1" noChangeArrowheads="1"/>
          </p:cNvSpPr>
          <p:nvPr>
            <p:ph type="dt" sz="half" idx="11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6171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7" name="Date Placeholder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460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4"/>
          <p:cNvGrpSpPr>
            <a:grpSpLocks/>
          </p:cNvGrpSpPr>
          <p:nvPr userDrawn="1"/>
        </p:nvGrpSpPr>
        <p:grpSpPr bwMode="auto">
          <a:xfrm>
            <a:off x="0" y="1246188"/>
            <a:ext cx="125413" cy="4870450"/>
            <a:chOff x="0" y="785"/>
            <a:chExt cx="79" cy="3068"/>
          </a:xfrm>
        </p:grpSpPr>
        <p:sp>
          <p:nvSpPr>
            <p:cNvPr id="6" name="Rectangle 4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A50021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7" name="Rectangle 41"/>
            <p:cNvSpPr>
              <a:spLocks noChangeAspect="1" noChangeArrowheads="1"/>
            </p:cNvSpPr>
            <p:nvPr/>
          </p:nvSpPr>
          <p:spPr bwMode="auto">
            <a:xfrm>
              <a:off x="0" y="2847"/>
              <a:ext cx="79" cy="1006"/>
            </a:xfrm>
            <a:prstGeom prst="rect">
              <a:avLst/>
            </a:prstGeom>
            <a:solidFill>
              <a:srgbClr val="008000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8000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8" name="Rectangle 4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chemeClr val="accent2">
                <a:alpha val="7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accent2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9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0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30519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9" name="Date Placeholder 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9019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9" name="Date Placeholder 9"/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3353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8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834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88" y="441325"/>
            <a:ext cx="2098675" cy="53308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19088" y="441325"/>
            <a:ext cx="6146800" cy="53308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0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532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319088" y="441325"/>
            <a:ext cx="8397875" cy="53308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Slide Number Placeholder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7" name="Date Placeholder 9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6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8" name="Group 44"/>
          <p:cNvGrpSpPr>
            <a:grpSpLocks/>
          </p:cNvGrpSpPr>
          <p:nvPr userDrawn="1"/>
        </p:nvGrpSpPr>
        <p:grpSpPr bwMode="auto">
          <a:xfrm>
            <a:off x="0" y="1246188"/>
            <a:ext cx="125413" cy="4870450"/>
            <a:chOff x="0" y="785"/>
            <a:chExt cx="79" cy="3068"/>
          </a:xfrm>
        </p:grpSpPr>
        <p:sp>
          <p:nvSpPr>
            <p:cNvPr id="9" name="Rectangle 4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A50021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0" name="Rectangle 41"/>
            <p:cNvSpPr>
              <a:spLocks noChangeAspect="1" noChangeArrowheads="1"/>
            </p:cNvSpPr>
            <p:nvPr/>
          </p:nvSpPr>
          <p:spPr bwMode="auto">
            <a:xfrm>
              <a:off x="0" y="2847"/>
              <a:ext cx="79" cy="1006"/>
            </a:xfrm>
            <a:prstGeom prst="rect">
              <a:avLst/>
            </a:prstGeom>
            <a:solidFill>
              <a:srgbClr val="008000">
                <a:alpha val="79999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rgbClr val="008000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1" name="Rectangle 4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chemeClr val="accent2">
                <a:alpha val="79999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accent2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2" name="Slide Number Placeholder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97611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8" name="Group 9"/>
          <p:cNvGrpSpPr>
            <a:grpSpLocks/>
          </p:cNvGrpSpPr>
          <p:nvPr userDrawn="1"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9" name="Rectangle 1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00CC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0" name="Rectangle 1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9D618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1" name="Rectangle 1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sp>
        <p:nvSpPr>
          <p:cNvPr id="12" name="Slide Number Placeholder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846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8" name="Group 9"/>
          <p:cNvGrpSpPr>
            <a:grpSpLocks/>
          </p:cNvGrpSpPr>
          <p:nvPr userDrawn="1"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9" name="Rectangle 1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00CC9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0" name="Rectangle 1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9D618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  <p:sp>
          <p:nvSpPr>
            <p:cNvPr id="11" name="Rectangle 1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US" sz="2000">
                <a:solidFill>
                  <a:srgbClr val="000000"/>
                </a:solidFill>
              </a:endParaRPr>
            </a:p>
          </p:txBody>
        </p:sp>
      </p:grpSp>
      <p:sp>
        <p:nvSpPr>
          <p:cNvPr id="12" name="Slide Number Placeholder 11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3" name="Date Placeholder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534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grpSp>
        <p:nvGrpSpPr>
          <p:cNvPr id="12" name="Group 23"/>
          <p:cNvGrpSpPr>
            <a:grpSpLocks/>
          </p:cNvGrpSpPr>
          <p:nvPr userDrawn="1"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13" name="Rectangle 2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B1BCC8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4" name="Rectangle 2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9D618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15" name="Rectangle 2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6" name="Slide Number Placeholder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7" name="Date Placeholder 1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5407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8" name="Date Placeholder 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248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image" Target="../media/image2.wmf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2.xml"/><Relationship Id="rId21" Type="http://schemas.openxmlformats.org/officeDocument/2006/relationships/image" Target="../media/image2.wmf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9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ok2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975" y="0"/>
            <a:ext cx="4772025" cy="519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27" name="Group 3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sp>
          <p:nvSpPr>
            <p:cNvPr id="1034" name="Rectangle 4"/>
            <p:cNvSpPr>
              <a:spLocks noChangeArrowheads="1"/>
            </p:cNvSpPr>
            <p:nvPr/>
          </p:nvSpPr>
          <p:spPr bwMode="auto">
            <a:xfrm>
              <a:off x="0" y="3923"/>
              <a:ext cx="2674" cy="397"/>
            </a:xfrm>
            <a:prstGeom prst="rect">
              <a:avLst/>
            </a:prstGeom>
            <a:solidFill>
              <a:srgbClr val="D7D8D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2000" dirty="0">
                <a:solidFill>
                  <a:srgbClr val="000000"/>
                </a:solidFill>
              </a:endParaRPr>
            </a:p>
          </p:txBody>
        </p:sp>
        <p:sp>
          <p:nvSpPr>
            <p:cNvPr id="1035" name="Rectangle 5"/>
            <p:cNvSpPr>
              <a:spLocks noChangeArrowheads="1"/>
            </p:cNvSpPr>
            <p:nvPr/>
          </p:nvSpPr>
          <p:spPr bwMode="auto">
            <a:xfrm>
              <a:off x="2634" y="3923"/>
              <a:ext cx="2387" cy="397"/>
            </a:xfrm>
            <a:prstGeom prst="rect">
              <a:avLst/>
            </a:prstGeom>
            <a:gradFill rotWithShape="1">
              <a:gsLst>
                <a:gs pos="0">
                  <a:srgbClr val="D7D8D6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2000" dirty="0">
                <a:solidFill>
                  <a:srgbClr val="000000"/>
                </a:solidFill>
              </a:endParaRPr>
            </a:p>
          </p:txBody>
        </p:sp>
        <p:sp>
          <p:nvSpPr>
            <p:cNvPr id="1036" name="Line 6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2000" dirty="0">
                <a:solidFill>
                  <a:srgbClr val="000000"/>
                </a:solidFill>
              </a:endParaRPr>
            </a:p>
          </p:txBody>
        </p:sp>
        <p:pic>
          <p:nvPicPr>
            <p:cNvPr id="1037" name="Picture 7"/>
            <p:cNvPicPr>
              <a:picLocks noChangeAspect="1" noChangeArrowheads="1"/>
            </p:cNvPicPr>
            <p:nvPr userDrawn="1"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02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263" y="1876425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smtClean="0"/>
          </a:p>
        </p:txBody>
      </p:sp>
      <p:sp>
        <p:nvSpPr>
          <p:cNvPr id="1029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19088" y="441325"/>
            <a:ext cx="83978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sv-SE" smtClean="0"/>
          </a:p>
        </p:txBody>
      </p:sp>
      <p:sp>
        <p:nvSpPr>
          <p:cNvPr id="329738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 fontAlgn="base">
              <a:spcAft>
                <a:spcPct val="0"/>
              </a:spcAft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031" name="Rectangle 11"/>
          <p:cNvSpPr>
            <a:spLocks noChangeArrowheads="1"/>
          </p:cNvSpPr>
          <p:nvPr/>
        </p:nvSpPr>
        <p:spPr bwMode="auto">
          <a:xfrm>
            <a:off x="339725" y="6256338"/>
            <a:ext cx="2133600" cy="227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v-SE" sz="1100" b="1">
                <a:solidFill>
                  <a:srgbClr val="000000"/>
                </a:solidFill>
              </a:rPr>
              <a:t>Volvo IT</a:t>
            </a:r>
          </a:p>
        </p:txBody>
      </p:sp>
      <p:sp>
        <p:nvSpPr>
          <p:cNvPr id="329740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150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60388" indent="-234950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Char char="–"/>
        <a:defRPr sz="2000">
          <a:solidFill>
            <a:schemeClr val="tx1"/>
          </a:solidFill>
          <a:latin typeface="+mn-lt"/>
        </a:defRPr>
      </a:lvl2pPr>
      <a:lvl3pPr marL="860425" indent="-207963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SzPct val="110000"/>
        <a:buFont typeface="Symbol" pitchFamily="18" charset="2"/>
        <a:buChar char="·"/>
        <a:defRPr sz="2000">
          <a:solidFill>
            <a:schemeClr val="tx1"/>
          </a:solidFill>
          <a:latin typeface="+mn-lt"/>
        </a:defRPr>
      </a:lvl3pPr>
      <a:lvl4pPr marL="1109663" indent="-182563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Char char="–"/>
        <a:defRPr sz="2000">
          <a:solidFill>
            <a:schemeClr val="tx1"/>
          </a:solidFill>
          <a:latin typeface="+mn-lt"/>
        </a:defRPr>
      </a:lvl4pPr>
      <a:lvl5pPr marL="1382713" indent="-195263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5pPr>
      <a:lvl6pPr marL="18399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6pPr>
      <a:lvl7pPr marL="22971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7pPr>
      <a:lvl8pPr marL="27543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8pPr>
      <a:lvl9pPr marL="32115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0" name="Group 17"/>
          <p:cNvGrpSpPr>
            <a:grpSpLocks/>
          </p:cNvGrpSpPr>
          <p:nvPr userDrawn="1"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sp>
          <p:nvSpPr>
            <p:cNvPr id="2057" name="Rectangle 3"/>
            <p:cNvSpPr>
              <a:spLocks noChangeArrowheads="1"/>
            </p:cNvSpPr>
            <p:nvPr/>
          </p:nvSpPr>
          <p:spPr bwMode="auto">
            <a:xfrm>
              <a:off x="0" y="3923"/>
              <a:ext cx="2674" cy="397"/>
            </a:xfrm>
            <a:prstGeom prst="rect">
              <a:avLst/>
            </a:prstGeom>
            <a:solidFill>
              <a:srgbClr val="D7D8D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2000" dirty="0">
                <a:solidFill>
                  <a:srgbClr val="000000"/>
                </a:solidFill>
              </a:endParaRPr>
            </a:p>
          </p:txBody>
        </p:sp>
        <p:sp>
          <p:nvSpPr>
            <p:cNvPr id="2058" name="Rectangle 4"/>
            <p:cNvSpPr>
              <a:spLocks noChangeArrowheads="1"/>
            </p:cNvSpPr>
            <p:nvPr/>
          </p:nvSpPr>
          <p:spPr bwMode="auto">
            <a:xfrm>
              <a:off x="2634" y="3923"/>
              <a:ext cx="2387" cy="397"/>
            </a:xfrm>
            <a:prstGeom prst="rect">
              <a:avLst/>
            </a:prstGeom>
            <a:gradFill rotWithShape="1">
              <a:gsLst>
                <a:gs pos="0">
                  <a:srgbClr val="D7D8D6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2000" dirty="0">
                <a:solidFill>
                  <a:srgbClr val="000000"/>
                </a:solidFill>
              </a:endParaRPr>
            </a:p>
          </p:txBody>
        </p:sp>
        <p:sp>
          <p:nvSpPr>
            <p:cNvPr id="2059" name="Line 11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2000" dirty="0">
                <a:solidFill>
                  <a:srgbClr val="000000"/>
                </a:solidFill>
              </a:endParaRPr>
            </a:p>
          </p:txBody>
        </p:sp>
        <p:pic>
          <p:nvPicPr>
            <p:cNvPr id="2060" name="Picture 12"/>
            <p:cNvPicPr>
              <a:picLocks noChangeAspect="1" noChangeArrowheads="1"/>
            </p:cNvPicPr>
            <p:nvPr userDrawn="1"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051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263" y="1876425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smtClean="0"/>
          </a:p>
        </p:txBody>
      </p:sp>
      <p:sp>
        <p:nvSpPr>
          <p:cNvPr id="2052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19088" y="441325"/>
            <a:ext cx="8393112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sv-SE" smtClean="0"/>
          </a:p>
        </p:txBody>
      </p:sp>
      <p:sp>
        <p:nvSpPr>
          <p:cNvPr id="2055" name="Rectangle 9"/>
          <p:cNvSpPr>
            <a:spLocks noChangeArrowheads="1"/>
          </p:cNvSpPr>
          <p:nvPr userDrawn="1"/>
        </p:nvSpPr>
        <p:spPr bwMode="auto">
          <a:xfrm>
            <a:off x="339725" y="6256338"/>
            <a:ext cx="2133600" cy="233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v-SE" sz="1100" b="1">
                <a:solidFill>
                  <a:srgbClr val="000000"/>
                </a:solidFill>
              </a:rPr>
              <a:t>Volvo I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sv-SE" sz="1000">
              <a:solidFill>
                <a:srgbClr val="000000"/>
              </a:solidFill>
            </a:endParaRPr>
          </a:p>
        </p:txBody>
      </p:sp>
      <p:sp>
        <p:nvSpPr>
          <p:cNvPr id="13" name="Slide Number Placeholder 1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 fontAlgn="base">
              <a:spcAft>
                <a:spcPct val="0"/>
              </a:spcAft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4" name="Date Placeholder 1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892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60388" indent="-234950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Char char="–"/>
        <a:defRPr sz="2000">
          <a:solidFill>
            <a:schemeClr val="tx1"/>
          </a:solidFill>
          <a:latin typeface="+mn-lt"/>
        </a:defRPr>
      </a:lvl2pPr>
      <a:lvl3pPr marL="860425" indent="-207963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SzPct val="110000"/>
        <a:buFont typeface="Symbol" pitchFamily="18" charset="2"/>
        <a:buChar char="·"/>
        <a:defRPr sz="2000">
          <a:solidFill>
            <a:schemeClr val="tx1"/>
          </a:solidFill>
          <a:latin typeface="+mn-lt"/>
        </a:defRPr>
      </a:lvl3pPr>
      <a:lvl4pPr marL="1109663" indent="-182563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Char char="–"/>
        <a:defRPr sz="2000">
          <a:solidFill>
            <a:schemeClr val="tx1"/>
          </a:solidFill>
          <a:latin typeface="+mn-lt"/>
        </a:defRPr>
      </a:lvl4pPr>
      <a:lvl5pPr marL="1382713" indent="-195263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5pPr>
      <a:lvl6pPr marL="18399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6pPr>
      <a:lvl7pPr marL="22971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7pPr>
      <a:lvl8pPr marL="27543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8pPr>
      <a:lvl9pPr marL="32115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 descr="ok2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1975" y="0"/>
            <a:ext cx="4772025" cy="519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27" name="Group 3"/>
          <p:cNvGrpSpPr>
            <a:grpSpLocks/>
          </p:cNvGrpSpPr>
          <p:nvPr/>
        </p:nvGrpSpPr>
        <p:grpSpPr bwMode="auto">
          <a:xfrm>
            <a:off x="0" y="6186488"/>
            <a:ext cx="9144000" cy="671512"/>
            <a:chOff x="0" y="3897"/>
            <a:chExt cx="5760" cy="423"/>
          </a:xfrm>
        </p:grpSpPr>
        <p:sp>
          <p:nvSpPr>
            <p:cNvPr id="1034" name="Rectangle 4"/>
            <p:cNvSpPr>
              <a:spLocks noChangeArrowheads="1"/>
            </p:cNvSpPr>
            <p:nvPr/>
          </p:nvSpPr>
          <p:spPr bwMode="auto">
            <a:xfrm>
              <a:off x="0" y="3923"/>
              <a:ext cx="2674" cy="397"/>
            </a:xfrm>
            <a:prstGeom prst="rect">
              <a:avLst/>
            </a:prstGeom>
            <a:solidFill>
              <a:srgbClr val="D7D8D6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2000" dirty="0">
                <a:solidFill>
                  <a:srgbClr val="000000"/>
                </a:solidFill>
              </a:endParaRPr>
            </a:p>
          </p:txBody>
        </p:sp>
        <p:sp>
          <p:nvSpPr>
            <p:cNvPr id="1035" name="Rectangle 5"/>
            <p:cNvSpPr>
              <a:spLocks noChangeArrowheads="1"/>
            </p:cNvSpPr>
            <p:nvPr/>
          </p:nvSpPr>
          <p:spPr bwMode="auto">
            <a:xfrm>
              <a:off x="2634" y="3923"/>
              <a:ext cx="2387" cy="397"/>
            </a:xfrm>
            <a:prstGeom prst="rect">
              <a:avLst/>
            </a:prstGeom>
            <a:gradFill rotWithShape="1">
              <a:gsLst>
                <a:gs pos="0">
                  <a:srgbClr val="D7D8D6"/>
                </a:gs>
                <a:gs pos="100000">
                  <a:srgbClr val="FFFFF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2000" dirty="0">
                <a:solidFill>
                  <a:srgbClr val="000000"/>
                </a:solidFill>
              </a:endParaRPr>
            </a:p>
          </p:txBody>
        </p:sp>
        <p:sp>
          <p:nvSpPr>
            <p:cNvPr id="1036" name="Line 6"/>
            <p:cNvSpPr>
              <a:spLocks noChangeShapeType="1"/>
            </p:cNvSpPr>
            <p:nvPr userDrawn="1"/>
          </p:nvSpPr>
          <p:spPr bwMode="auto">
            <a:xfrm>
              <a:off x="0" y="3897"/>
              <a:ext cx="5760" cy="0"/>
            </a:xfrm>
            <a:prstGeom prst="line">
              <a:avLst/>
            </a:prstGeom>
            <a:noFill/>
            <a:ln w="25400">
              <a:solidFill>
                <a:srgbClr val="000F60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en-GB" sz="2000" dirty="0">
                <a:solidFill>
                  <a:srgbClr val="000000"/>
                </a:solidFill>
              </a:endParaRPr>
            </a:p>
          </p:txBody>
        </p:sp>
        <p:pic>
          <p:nvPicPr>
            <p:cNvPr id="1037" name="Picture 7"/>
            <p:cNvPicPr>
              <a:picLocks noChangeAspect="1" noChangeArrowheads="1"/>
            </p:cNvPicPr>
            <p:nvPr userDrawn="1"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5" y="4076"/>
              <a:ext cx="587" cy="8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028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2263" y="1876425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v-SE" smtClean="0"/>
          </a:p>
        </p:txBody>
      </p:sp>
      <p:sp>
        <p:nvSpPr>
          <p:cNvPr id="1029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319088" y="441325"/>
            <a:ext cx="839787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sv-SE" smtClean="0"/>
          </a:p>
        </p:txBody>
      </p:sp>
      <p:sp>
        <p:nvSpPr>
          <p:cNvPr id="329738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1000"/>
            </a:lvl1pPr>
          </a:lstStyle>
          <a:p>
            <a:pPr fontAlgn="base">
              <a:spcAft>
                <a:spcPct val="0"/>
              </a:spcAft>
              <a:defRPr/>
            </a:pPr>
            <a:fld id="{B965AC01-636B-4266-A3EE-4AE08EAA261E}" type="slidenum">
              <a:rPr lang="sv-SE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031" name="Rectangle 11"/>
          <p:cNvSpPr>
            <a:spLocks noChangeArrowheads="1"/>
          </p:cNvSpPr>
          <p:nvPr/>
        </p:nvSpPr>
        <p:spPr bwMode="auto">
          <a:xfrm>
            <a:off x="339725" y="6256338"/>
            <a:ext cx="2133600" cy="227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sv-SE" sz="1100" b="1">
                <a:solidFill>
                  <a:srgbClr val="000000"/>
                </a:solidFill>
              </a:rPr>
              <a:t>Volvo IT</a:t>
            </a:r>
          </a:p>
        </p:txBody>
      </p:sp>
      <p:sp>
        <p:nvSpPr>
          <p:cNvPr id="329740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88963" y="6618288"/>
            <a:ext cx="2490787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defRPr sz="900"/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 smtClean="0">
                <a:solidFill>
                  <a:srgbClr val="000000"/>
                </a:solidFill>
              </a:rPr>
              <a:t>Piotr Zając, Volvo IT, Wrocław, Poland, May 2015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7086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Arial" charset="0"/>
        </a:defRPr>
      </a:lvl9pPr>
    </p:titleStyle>
    <p:bodyStyle>
      <a:lvl1pPr marL="234950" indent="-234950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Font typeface="Symbol" pitchFamily="18" charset="2"/>
        <a:buChar char="·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60388" indent="-234950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Char char="–"/>
        <a:defRPr sz="2000">
          <a:solidFill>
            <a:schemeClr val="tx1"/>
          </a:solidFill>
          <a:latin typeface="+mn-lt"/>
        </a:defRPr>
      </a:lvl2pPr>
      <a:lvl3pPr marL="860425" indent="-207963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SzPct val="110000"/>
        <a:buFont typeface="Symbol" pitchFamily="18" charset="2"/>
        <a:buChar char="·"/>
        <a:defRPr sz="2000">
          <a:solidFill>
            <a:schemeClr val="tx1"/>
          </a:solidFill>
          <a:latin typeface="+mn-lt"/>
        </a:defRPr>
      </a:lvl3pPr>
      <a:lvl4pPr marL="1109663" indent="-182563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Char char="–"/>
        <a:defRPr sz="2000">
          <a:solidFill>
            <a:schemeClr val="tx1"/>
          </a:solidFill>
          <a:latin typeface="+mn-lt"/>
        </a:defRPr>
      </a:lvl4pPr>
      <a:lvl5pPr marL="1382713" indent="-195263" algn="l" rtl="0" eaLnBrk="0" fontAlgn="base" hangingPunct="0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5pPr>
      <a:lvl6pPr marL="18399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6pPr>
      <a:lvl7pPr marL="22971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7pPr>
      <a:lvl8pPr marL="27543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8pPr>
      <a:lvl9pPr marL="3211513" indent="-195263" algn="l" rtl="0" fontAlgn="base">
        <a:spcBef>
          <a:spcPct val="40000"/>
        </a:spcBef>
        <a:spcAft>
          <a:spcPct val="0"/>
        </a:spcAft>
        <a:buClr>
          <a:schemeClr val="tx2"/>
        </a:buClr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gif"/><Relationship Id="rId3" Type="http://schemas.openxmlformats.org/officeDocument/2006/relationships/image" Target="../media/image75.jpeg"/><Relationship Id="rId7" Type="http://schemas.openxmlformats.org/officeDocument/2006/relationships/image" Target="../media/image79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8.gif"/><Relationship Id="rId5" Type="http://schemas.openxmlformats.org/officeDocument/2006/relationships/image" Target="../media/image77.gif"/><Relationship Id="rId10" Type="http://schemas.openxmlformats.org/officeDocument/2006/relationships/image" Target="../media/image82.png"/><Relationship Id="rId4" Type="http://schemas.openxmlformats.org/officeDocument/2006/relationships/image" Target="../media/image76.gif"/><Relationship Id="rId9" Type="http://schemas.openxmlformats.org/officeDocument/2006/relationships/image" Target="../media/image8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8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gi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5.jp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99.png"/><Relationship Id="rId5" Type="http://schemas.openxmlformats.org/officeDocument/2006/relationships/image" Target="../media/image98.png"/><Relationship Id="rId4" Type="http://schemas.openxmlformats.org/officeDocument/2006/relationships/image" Target="../media/image9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7.png"/><Relationship Id="rId26" Type="http://schemas.openxmlformats.org/officeDocument/2006/relationships/image" Target="../media/image15.jpeg"/><Relationship Id="rId3" Type="http://schemas.openxmlformats.org/officeDocument/2006/relationships/tags" Target="../tags/tag3.xml"/><Relationship Id="rId21" Type="http://schemas.openxmlformats.org/officeDocument/2006/relationships/image" Target="../media/image10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6.png"/><Relationship Id="rId25" Type="http://schemas.openxmlformats.org/officeDocument/2006/relationships/image" Target="../media/image14.jpeg"/><Relationship Id="rId2" Type="http://schemas.openxmlformats.org/officeDocument/2006/relationships/tags" Target="../tags/tag2.xml"/><Relationship Id="rId16" Type="http://schemas.openxmlformats.org/officeDocument/2006/relationships/image" Target="../media/image5.jpeg"/><Relationship Id="rId20" Type="http://schemas.openxmlformats.org/officeDocument/2006/relationships/image" Target="../media/image9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13.png"/><Relationship Id="rId5" Type="http://schemas.openxmlformats.org/officeDocument/2006/relationships/tags" Target="../tags/tag5.xml"/><Relationship Id="rId15" Type="http://schemas.openxmlformats.org/officeDocument/2006/relationships/notesSlide" Target="../notesSlides/notesSlide4.xml"/><Relationship Id="rId23" Type="http://schemas.openxmlformats.org/officeDocument/2006/relationships/image" Target="../media/image12.png"/><Relationship Id="rId10" Type="http://schemas.openxmlformats.org/officeDocument/2006/relationships/tags" Target="../tags/tag10.xml"/><Relationship Id="rId19" Type="http://schemas.openxmlformats.org/officeDocument/2006/relationships/image" Target="../media/image8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slideLayout" Target="../slideLayouts/slideLayout12.xml"/><Relationship Id="rId22" Type="http://schemas.openxmlformats.org/officeDocument/2006/relationships/image" Target="../media/image11.png"/><Relationship Id="rId27" Type="http://schemas.openxmlformats.org/officeDocument/2006/relationships/image" Target="../media/image16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1.jp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jp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3.jp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15.jp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jpe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1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1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jpe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1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2.wmf"/><Relationship Id="rId5" Type="http://schemas.openxmlformats.org/officeDocument/2006/relationships/image" Target="../media/image121.jpeg"/><Relationship Id="rId4" Type="http://schemas.openxmlformats.org/officeDocument/2006/relationships/hyperlink" Target="../../../Master%20Test%20Plan%20Impact_DVD_4.02.50.docx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26" Type="http://schemas.openxmlformats.org/officeDocument/2006/relationships/image" Target="../media/image37.jpg"/><Relationship Id="rId3" Type="http://schemas.openxmlformats.org/officeDocument/2006/relationships/image" Target="../media/image17.png"/><Relationship Id="rId21" Type="http://schemas.openxmlformats.org/officeDocument/2006/relationships/image" Target="../media/image32.jpeg"/><Relationship Id="rId34" Type="http://schemas.openxmlformats.org/officeDocument/2006/relationships/image" Target="../media/image45.jpg"/><Relationship Id="rId7" Type="http://schemas.openxmlformats.org/officeDocument/2006/relationships/image" Target="../media/image19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6.jpg"/><Relationship Id="rId33" Type="http://schemas.openxmlformats.org/officeDocument/2006/relationships/image" Target="../media/image44.jp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7.png"/><Relationship Id="rId20" Type="http://schemas.openxmlformats.org/officeDocument/2006/relationships/image" Target="../media/image31.png"/><Relationship Id="rId29" Type="http://schemas.openxmlformats.org/officeDocument/2006/relationships/image" Target="../media/image40.jpg"/><Relationship Id="rId1" Type="http://schemas.openxmlformats.org/officeDocument/2006/relationships/slideLayout" Target="../slideLayouts/slideLayout12.xml"/><Relationship Id="rId6" Type="http://schemas.microsoft.com/office/2007/relationships/hdphoto" Target="../media/hdphoto2.wdp"/><Relationship Id="rId11" Type="http://schemas.openxmlformats.org/officeDocument/2006/relationships/image" Target="../media/image22.png"/><Relationship Id="rId24" Type="http://schemas.openxmlformats.org/officeDocument/2006/relationships/image" Target="../media/image35.jpg"/><Relationship Id="rId32" Type="http://schemas.openxmlformats.org/officeDocument/2006/relationships/image" Target="../media/image43.jpg"/><Relationship Id="rId5" Type="http://schemas.openxmlformats.org/officeDocument/2006/relationships/image" Target="../media/image18.png"/><Relationship Id="rId15" Type="http://schemas.openxmlformats.org/officeDocument/2006/relationships/image" Target="../media/image26.png"/><Relationship Id="rId23" Type="http://schemas.openxmlformats.org/officeDocument/2006/relationships/image" Target="../media/image34.jpg"/><Relationship Id="rId28" Type="http://schemas.openxmlformats.org/officeDocument/2006/relationships/image" Target="../media/image39.jpg"/><Relationship Id="rId36" Type="http://schemas.openxmlformats.org/officeDocument/2006/relationships/image" Target="../media/image47.jpg"/><Relationship Id="rId10" Type="http://schemas.openxmlformats.org/officeDocument/2006/relationships/image" Target="../media/image21.png"/><Relationship Id="rId19" Type="http://schemas.openxmlformats.org/officeDocument/2006/relationships/image" Target="../media/image30.png"/><Relationship Id="rId31" Type="http://schemas.openxmlformats.org/officeDocument/2006/relationships/image" Target="../media/image42.jpg"/><Relationship Id="rId4" Type="http://schemas.microsoft.com/office/2007/relationships/hdphoto" Target="../media/hdphoto1.wdp"/><Relationship Id="rId9" Type="http://schemas.openxmlformats.org/officeDocument/2006/relationships/image" Target="../media/image20.png"/><Relationship Id="rId14" Type="http://schemas.openxmlformats.org/officeDocument/2006/relationships/image" Target="../media/image25.png"/><Relationship Id="rId22" Type="http://schemas.openxmlformats.org/officeDocument/2006/relationships/image" Target="../media/image33.jpg"/><Relationship Id="rId27" Type="http://schemas.openxmlformats.org/officeDocument/2006/relationships/image" Target="../media/image38.jpg"/><Relationship Id="rId30" Type="http://schemas.openxmlformats.org/officeDocument/2006/relationships/image" Target="../media/image41.jpg"/><Relationship Id="rId35" Type="http://schemas.openxmlformats.org/officeDocument/2006/relationships/image" Target="../media/image46.jp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6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jpe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8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0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3.jpe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jpe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7.jpeg"/><Relationship Id="rId4" Type="http://schemas.openxmlformats.org/officeDocument/2006/relationships/image" Target="../media/image136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39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2.png"/><Relationship Id="rId4" Type="http://schemas.openxmlformats.org/officeDocument/2006/relationships/image" Target="../media/image141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3.pn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5.png"/><Relationship Id="rId4" Type="http://schemas.openxmlformats.org/officeDocument/2006/relationships/image" Target="../media/image144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6.png"/><Relationship Id="rId2" Type="http://schemas.openxmlformats.org/officeDocument/2006/relationships/notesSlide" Target="../notesSlides/notesSlide6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8.png"/><Relationship Id="rId4" Type="http://schemas.openxmlformats.org/officeDocument/2006/relationships/image" Target="../media/image147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9.png"/><Relationship Id="rId2" Type="http://schemas.openxmlformats.org/officeDocument/2006/relationships/notesSlide" Target="../notesSlides/notesSlide6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0.png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png"/><Relationship Id="rId2" Type="http://schemas.openxmlformats.org/officeDocument/2006/relationships/notesSlide" Target="../notesSlides/notesSlide67.xml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png"/><Relationship Id="rId2" Type="http://schemas.openxmlformats.org/officeDocument/2006/relationships/notesSlide" Target="../notesSlides/notesSlide6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5.png"/><Relationship Id="rId5" Type="http://schemas.openxmlformats.org/officeDocument/2006/relationships/image" Target="../media/image154.png"/><Relationship Id="rId4" Type="http://schemas.openxmlformats.org/officeDocument/2006/relationships/image" Target="../media/image153.png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6.png"/><Relationship Id="rId2" Type="http://schemas.openxmlformats.org/officeDocument/2006/relationships/notesSlide" Target="../notesSlides/notesSlide6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50.jpeg"/><Relationship Id="rId7" Type="http://schemas.openxmlformats.org/officeDocument/2006/relationships/image" Target="../media/image5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3.jpeg"/><Relationship Id="rId11" Type="http://schemas.openxmlformats.org/officeDocument/2006/relationships/image" Target="../media/image58.jpg"/><Relationship Id="rId5" Type="http://schemas.openxmlformats.org/officeDocument/2006/relationships/image" Target="../media/image52.jpeg"/><Relationship Id="rId10" Type="http://schemas.openxmlformats.org/officeDocument/2006/relationships/image" Target="../media/image57.jpg"/><Relationship Id="rId4" Type="http://schemas.openxmlformats.org/officeDocument/2006/relationships/image" Target="../media/image51.jpeg"/><Relationship Id="rId9" Type="http://schemas.openxmlformats.org/officeDocument/2006/relationships/image" Target="../media/image56.jpe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70.xml"/><Relationship Id="rId1" Type="http://schemas.openxmlformats.org/officeDocument/2006/relationships/slideLayout" Target="../slideLayouts/slideLayout1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71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12" Type="http://schemas.openxmlformats.org/officeDocument/2006/relationships/image" Target="../media/image68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7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2.png"/><Relationship Id="rId11" Type="http://schemas.openxmlformats.org/officeDocument/2006/relationships/image" Target="../media/image67.jpeg"/><Relationship Id="rId5" Type="http://schemas.openxmlformats.org/officeDocument/2006/relationships/image" Target="../media/image61.png"/><Relationship Id="rId15" Type="http://schemas.openxmlformats.org/officeDocument/2006/relationships/image" Target="../media/image71.png"/><Relationship Id="rId10" Type="http://schemas.openxmlformats.org/officeDocument/2006/relationships/image" Target="../media/image66.png"/><Relationship Id="rId4" Type="http://schemas.openxmlformats.org/officeDocument/2006/relationships/image" Target="../media/image60.png"/><Relationship Id="rId9" Type="http://schemas.openxmlformats.org/officeDocument/2006/relationships/image" Target="../media/image65.png"/><Relationship Id="rId14" Type="http://schemas.openxmlformats.org/officeDocument/2006/relationships/image" Target="../media/image7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" r="11427"/>
          <a:stretch/>
        </p:blipFill>
        <p:spPr>
          <a:xfrm>
            <a:off x="-1" y="0"/>
            <a:ext cx="9143999" cy="612933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sz="1000" noProof="0" smtClean="0"/>
              <a:pPr/>
              <a:t>1</a:t>
            </a:fld>
            <a:endParaRPr lang="en-US" sz="1000" noProof="0" dirty="0"/>
          </a:p>
        </p:txBody>
      </p:sp>
      <p:grpSp>
        <p:nvGrpSpPr>
          <p:cNvPr id="3" name="Group 2"/>
          <p:cNvGrpSpPr/>
          <p:nvPr/>
        </p:nvGrpSpPr>
        <p:grpSpPr>
          <a:xfrm>
            <a:off x="19" y="4683527"/>
            <a:ext cx="5881797" cy="1376873"/>
            <a:chOff x="19" y="4683527"/>
            <a:chExt cx="5881797" cy="1376873"/>
          </a:xfrm>
        </p:grpSpPr>
        <p:sp>
          <p:nvSpPr>
            <p:cNvPr id="11" name="Rectangle 10"/>
            <p:cNvSpPr/>
            <p:nvPr/>
          </p:nvSpPr>
          <p:spPr>
            <a:xfrm>
              <a:off x="19" y="4683527"/>
              <a:ext cx="5881797" cy="1315318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000" smtClean="0">
                <a:solidFill>
                  <a:schemeClr val="tx1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356" y="4829294"/>
              <a:ext cx="5869459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pl-PL" sz="3200" b="1" dirty="0"/>
                <a:t>Zarządzanie </a:t>
              </a:r>
              <a:r>
                <a:rPr lang="pl-PL" sz="3200" b="1" dirty="0" smtClean="0"/>
                <a:t>Cyklem Testów</a:t>
              </a:r>
            </a:p>
            <a:p>
              <a:pPr algn="ctr">
                <a:spcBef>
                  <a:spcPts val="600"/>
                </a:spcBef>
              </a:pPr>
              <a:r>
                <a:rPr lang="pl-PL" sz="1600" dirty="0" smtClean="0"/>
                <a:t>Wrocław</a:t>
              </a:r>
            </a:p>
            <a:p>
              <a:pPr algn="ctr">
                <a:spcBef>
                  <a:spcPts val="600"/>
                </a:spcBef>
              </a:pPr>
              <a:r>
                <a:rPr lang="pl-PL" sz="1600" smtClean="0"/>
                <a:t>02.12.2017</a:t>
              </a:r>
              <a:endParaRPr lang="sv-SE" sz="1600" dirty="0" smtClean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240923" y="5688378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52225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sz="1000" noProof="0" smtClean="0"/>
              <a:pPr/>
              <a:t>10</a:t>
            </a:fld>
            <a:endParaRPr lang="en-US" sz="1000" noProof="0" dirty="0"/>
          </a:p>
        </p:txBody>
      </p:sp>
      <p:pic>
        <p:nvPicPr>
          <p:cNvPr id="5" name="Picture 12" descr="\\Vcn.ds.volvo.net\cli-hm\hm0360\bpl4336\My Documents\KOMUNIKACJA\EXTERNAL COMMUNICATIONS\Internet\2014\zdjęcia\background_common_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" t="7927" r="1863"/>
          <a:stretch/>
        </p:blipFill>
        <p:spPr bwMode="auto">
          <a:xfrm>
            <a:off x="234548" y="1127170"/>
            <a:ext cx="6740613" cy="4985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1738313" y="442913"/>
            <a:ext cx="53244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pl-PL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200025" y="252413"/>
            <a:ext cx="7284664" cy="5869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/>
          <a:p>
            <a:r>
              <a:rPr lang="en-US" sz="3200" b="1" dirty="0" err="1" smtClean="0">
                <a:solidFill>
                  <a:schemeClr val="tx2"/>
                </a:solidFill>
              </a:rPr>
              <a:t>Tytuł</a:t>
            </a:r>
            <a:r>
              <a:rPr lang="en-US" sz="3200" b="1" dirty="0" smtClean="0">
                <a:solidFill>
                  <a:schemeClr val="tx2"/>
                </a:solidFill>
              </a:rPr>
              <a:t> </a:t>
            </a:r>
            <a:r>
              <a:rPr lang="en-US" sz="3200" b="1" dirty="0">
                <a:solidFill>
                  <a:schemeClr val="tx2"/>
                </a:solidFill>
              </a:rPr>
              <a:t>Top Employer </a:t>
            </a:r>
            <a:r>
              <a:rPr lang="en-US" sz="3200" b="1" dirty="0" err="1" smtClean="0">
                <a:solidFill>
                  <a:schemeClr val="tx2"/>
                </a:solidFill>
              </a:rPr>
              <a:t>dla</a:t>
            </a:r>
            <a:r>
              <a:rPr lang="en-US" sz="3200" b="1" dirty="0" smtClean="0">
                <a:solidFill>
                  <a:schemeClr val="tx2"/>
                </a:solidFill>
              </a:rPr>
              <a:t> </a:t>
            </a:r>
            <a:r>
              <a:rPr lang="en-US" sz="3200" b="1" dirty="0">
                <a:solidFill>
                  <a:schemeClr val="tx2"/>
                </a:solidFill>
              </a:rPr>
              <a:t>Volvo </a:t>
            </a:r>
            <a:r>
              <a:rPr lang="en-US" sz="3200" b="1" dirty="0" err="1">
                <a:solidFill>
                  <a:schemeClr val="tx2"/>
                </a:solidFill>
              </a:rPr>
              <a:t>Polska</a:t>
            </a:r>
            <a:endParaRPr lang="en-US" sz="3200" b="1" dirty="0">
              <a:solidFill>
                <a:schemeClr val="tx2"/>
              </a:solidFill>
            </a:endParaRPr>
          </a:p>
        </p:txBody>
      </p:sp>
      <p:pic>
        <p:nvPicPr>
          <p:cNvPr id="8" name="Picture 2" descr="\\vcn.ds.volvo.net\cli-hm\hm0360\bpl4336\My Documents\KOMUNIKACJA\EXTERNAL COMMUNICATIONS\Dobry Pracodawca\Top Employer\2014\logotyp TE\Top-Employer-Polska-2014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2744108"/>
            <a:ext cx="1419400" cy="637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\\vcn.ds.volvo.net\cli-hm\HM0360\bpl4336\My Documents\KOMUNIKACJA\EXTERNAL COMMUNICATIONS\Dobry Pracodawca\Top Employer\2013\logo Top Employer 2013\Logotyp Top Employers Polska 2013\Top Employers Polska 2013\TE_PL_13.gif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799" y="3420644"/>
            <a:ext cx="1432801" cy="643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\\vcn.ds.volvo.net\cli-hm\HM0360\bpl4336\My Documents\KOMUNIKACJA\EXTERNAL COMMUNICATIONS\Dobry Pracodawca\Top Employer\2012\TE_POLSKA2012_SEALS\TE_POLSKA2012_RED.gi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799" y="4097180"/>
            <a:ext cx="1432801" cy="643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C:\Users\bpl4336\AppData\Local\Temp\Temp1_Znak certyfikacji TEPL11.zip\TE_PL_QS_11\TE_PL_QS_TOP_STANDARD_RED_11.g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4778989"/>
            <a:ext cx="1448314" cy="6508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0" descr="\\vcn.ds.volvo.net\cli-hm\HM0360\bpl4336\My Documents\KOMUNIKACJA\EXTERNAL COMMUNICATIONS\Dobry Pracodawca\Top Employer\2010\TE_PL_QS_TOP_STANDARD_RED_10.gif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5461624"/>
            <a:ext cx="1448314" cy="650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" descr="http://violin.volvogroup.net/sites/news/vg/ba/vb/bre/polska/PublishingImages/Events/Top_Employers_Poland_2015_55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0" y="2073635"/>
            <a:ext cx="1426542" cy="638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6" name="Picture 2" descr="C:\Users\a050825\AppData\Local\Microsoft\Windows\Temporary Internet Files\Content.Outlook\SKGBKEOC\Top_Employer_Poland_2016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9113" y="968829"/>
            <a:ext cx="2373087" cy="1064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5053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" r="11427"/>
          <a:stretch/>
        </p:blipFill>
        <p:spPr>
          <a:xfrm>
            <a:off x="-1" y="0"/>
            <a:ext cx="9143999" cy="612933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noProof="0" smtClean="0"/>
              <a:pPr/>
              <a:t>11</a:t>
            </a:fld>
            <a:endParaRPr lang="en-US" noProof="0" dirty="0"/>
          </a:p>
        </p:txBody>
      </p:sp>
      <p:grpSp>
        <p:nvGrpSpPr>
          <p:cNvPr id="3" name="Group 2"/>
          <p:cNvGrpSpPr/>
          <p:nvPr/>
        </p:nvGrpSpPr>
        <p:grpSpPr>
          <a:xfrm>
            <a:off x="19" y="4683527"/>
            <a:ext cx="5881797" cy="1376873"/>
            <a:chOff x="19" y="4683527"/>
            <a:chExt cx="5881797" cy="1376873"/>
          </a:xfrm>
        </p:grpSpPr>
        <p:sp>
          <p:nvSpPr>
            <p:cNvPr id="11" name="Rectangle 10"/>
            <p:cNvSpPr/>
            <p:nvPr/>
          </p:nvSpPr>
          <p:spPr>
            <a:xfrm>
              <a:off x="19" y="4683527"/>
              <a:ext cx="5881797" cy="1315318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000" smtClean="0">
                <a:solidFill>
                  <a:schemeClr val="tx1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356" y="4829294"/>
              <a:ext cx="5869459" cy="1231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pl-PL" sz="3200" b="1" dirty="0"/>
                <a:t>Zarządzanie </a:t>
              </a:r>
              <a:r>
                <a:rPr lang="pl-PL" sz="3200" b="1" dirty="0" smtClean="0"/>
                <a:t>Cyklem Testów</a:t>
              </a:r>
              <a:endParaRPr lang="pl-PL" sz="3200" b="1" dirty="0"/>
            </a:p>
            <a:p>
              <a:pPr algn="ctr">
                <a:spcBef>
                  <a:spcPts val="600"/>
                </a:spcBef>
              </a:pPr>
              <a:r>
                <a:rPr lang="pl-PL" sz="1600" dirty="0" smtClean="0"/>
                <a:t>Wrocław</a:t>
              </a:r>
              <a:endParaRPr lang="pl-PL" sz="1600" dirty="0"/>
            </a:p>
            <a:p>
              <a:pPr algn="ctr">
                <a:spcBef>
                  <a:spcPts val="600"/>
                </a:spcBef>
              </a:pPr>
              <a:r>
                <a:rPr lang="pl-PL" sz="1600" smtClean="0"/>
                <a:t>02.12.2017</a:t>
              </a:r>
              <a:endParaRPr lang="sv-SE" sz="1600" dirty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240923" y="5688378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264410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Agenda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12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Volvo Group </a:t>
            </a:r>
            <a:r>
              <a:rPr lang="pl-PL" kern="0" dirty="0"/>
              <a:t>i</a:t>
            </a:r>
            <a:r>
              <a:rPr lang="pl-PL" kern="0" dirty="0" smtClean="0"/>
              <a:t> Volvo 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b="1" kern="0" dirty="0" smtClean="0"/>
              <a:t>Proces i cykle testow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Techniki testowe</a:t>
            </a:r>
            <a:endParaRPr lang="en-US" kern="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Strategia i struktura testó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Planowanie i organizacj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Metryki i narzędzia testowe</a:t>
            </a:r>
          </a:p>
        </p:txBody>
      </p:sp>
      <p:pic>
        <p:nvPicPr>
          <p:cNvPr id="13" name="Picture 6" descr="C:\Users\bpl4027\AppData\Local\Temp\SNAGHTMLac614a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3938240"/>
            <a:ext cx="5191944" cy="2044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00025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C:\Users\bpld362\AppData\Local\Microsoft\Windows\Temporary Internet Files\Content.IE5\YZR2F9YT\red-de-distribución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8719" y="2884488"/>
            <a:ext cx="3354463" cy="2520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oces testowy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dstawowy proces testowy składa się z następujących etapów:</a:t>
            </a:r>
            <a:endParaRPr lang="en-US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l-PL" kern="0" dirty="0" smtClean="0"/>
              <a:t>Planowanie i nadzór</a:t>
            </a:r>
            <a:endParaRPr lang="en-US" kern="0" dirty="0"/>
          </a:p>
          <a:p>
            <a:r>
              <a:rPr lang="pl-PL" kern="0" dirty="0" smtClean="0"/>
              <a:t>Analiza i projektowanie testów</a:t>
            </a:r>
            <a:endParaRPr lang="en-US" kern="0" dirty="0"/>
          </a:p>
          <a:p>
            <a:r>
              <a:rPr lang="pl-PL" kern="0" dirty="0" smtClean="0"/>
              <a:t>Implementacja i wykonanie testów</a:t>
            </a:r>
            <a:endParaRPr lang="en-US" kern="0" dirty="0"/>
          </a:p>
          <a:p>
            <a:r>
              <a:rPr lang="pl-PL" kern="0" dirty="0" smtClean="0"/>
              <a:t>Ocena spełnienia kryteriów zakończenia i raportowanie</a:t>
            </a:r>
            <a:endParaRPr lang="en-US" kern="0" dirty="0"/>
          </a:p>
          <a:p>
            <a:r>
              <a:rPr lang="pl-PL" kern="0" dirty="0" smtClean="0"/>
              <a:t>Czynności zamykające testy.</a:t>
            </a:r>
            <a:endParaRPr lang="en-US" kern="0" dirty="0"/>
          </a:p>
          <a:p>
            <a:endParaRPr lang="en-US" kern="0" dirty="0" smtClean="0"/>
          </a:p>
        </p:txBody>
      </p:sp>
    </p:spTree>
    <p:extLst>
      <p:ext uri="{BB962C8B-B14F-4D97-AF65-F5344CB8AC3E}">
        <p14:creationId xmlns:p14="http://schemas.microsoft.com/office/powerpoint/2010/main" val="4151749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owanie i nadzó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kern="0" dirty="0" smtClean="0"/>
              <a:t>Definiowanie celów testowania i czynności testowych</a:t>
            </a:r>
          </a:p>
          <a:p>
            <a:r>
              <a:rPr lang="pl-PL" kern="0" dirty="0" smtClean="0"/>
              <a:t>Monitorowanie testów – porównywanie uzyskiwanych rezultatów z oczekiwanymi</a:t>
            </a:r>
          </a:p>
          <a:p>
            <a:r>
              <a:rPr lang="pl-PL" kern="0" dirty="0" smtClean="0"/>
              <a:t>Raportowanie statusu testów.</a:t>
            </a:r>
            <a:endParaRPr lang="en-US" kern="0" dirty="0" smtClean="0"/>
          </a:p>
        </p:txBody>
      </p:sp>
      <p:pic>
        <p:nvPicPr>
          <p:cNvPr id="4098" name="Picture 2" descr="C:\Users\bpld362\AppData\Local\Microsoft\Windows\Temporary Internet Files\Content.IE5\QNAZVMQD\estrategia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2918" y="3230562"/>
            <a:ext cx="2228850" cy="2047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983436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bpld362\AppData\Local\Microsoft\Windows\Temporary Internet Files\Content.IE5\YZR2F9YT\13951004110724899530154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4028381"/>
            <a:ext cx="3024336" cy="2105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naliza i projektowanie testó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15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kern="0" dirty="0" smtClean="0"/>
              <a:t>Identyfikacja warunków testowych</a:t>
            </a:r>
          </a:p>
          <a:p>
            <a:pPr marL="0" indent="0">
              <a:buNone/>
            </a:pPr>
            <a:r>
              <a:rPr lang="pl-PL" sz="1600" i="1" kern="0" dirty="0" smtClean="0"/>
              <a:t>Warunek testowy – element </a:t>
            </a:r>
            <a:r>
              <a:rPr lang="pl-PL" sz="1600" i="1" kern="0" dirty="0"/>
              <a:t>lub zdarzenie modułu lub systemu, który może być zweryfikowany przez jeden lub więcej przypadków testowych, np. funkcja, transakcja, cecha, atrybut jakości lub element struktury. </a:t>
            </a:r>
            <a:endParaRPr lang="pl-PL" sz="1600" i="1" kern="0" dirty="0" smtClean="0"/>
          </a:p>
          <a:p>
            <a:pPr marL="0" indent="0">
              <a:buNone/>
            </a:pPr>
            <a:endParaRPr lang="pl-PL" sz="1600" i="1" kern="0" dirty="0" smtClean="0"/>
          </a:p>
          <a:p>
            <a:r>
              <a:rPr lang="pl-PL" kern="0" dirty="0" smtClean="0"/>
              <a:t>Utworzenie przypadków testowych</a:t>
            </a:r>
            <a:endParaRPr lang="pl-PL" kern="0" dirty="0"/>
          </a:p>
          <a:p>
            <a:pPr marL="0" indent="0">
              <a:buNone/>
            </a:pPr>
            <a:r>
              <a:rPr lang="pl-PL" sz="1600" i="1" kern="0" dirty="0" smtClean="0"/>
              <a:t>Przypadek </a:t>
            </a:r>
            <a:r>
              <a:rPr lang="pl-PL" sz="1600" i="1" kern="0" dirty="0"/>
              <a:t>testowy – zbiór danych wejściowych, wstępnych warunków wykonania, oczekiwanych rezultatów i końcowych warunków wykonania opracowany w określonym celu lub dla warunku testowego</a:t>
            </a:r>
          </a:p>
        </p:txBody>
      </p:sp>
    </p:spTree>
    <p:extLst>
      <p:ext uri="{BB962C8B-B14F-4D97-AF65-F5344CB8AC3E}">
        <p14:creationId xmlns:p14="http://schemas.microsoft.com/office/powerpoint/2010/main" val="9820317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Implementacja i wykonanie testów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16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kern="0" dirty="0" smtClean="0"/>
              <a:t>Utworzenie procedur testowych z przypadków testowych</a:t>
            </a:r>
          </a:p>
          <a:p>
            <a:r>
              <a:rPr lang="pl-PL" kern="0" dirty="0" smtClean="0"/>
              <a:t>Weryfikacja środowiska testowego i niezbędnych danych testowych</a:t>
            </a:r>
          </a:p>
          <a:p>
            <a:r>
              <a:rPr lang="pl-PL" kern="0" dirty="0" smtClean="0"/>
              <a:t>Wykonanie procedur testowych zgodnie z ustalonymi priorytetami i odznaczanie rezultatów</a:t>
            </a:r>
          </a:p>
          <a:p>
            <a:r>
              <a:rPr lang="pl-PL" kern="0" dirty="0" smtClean="0"/>
              <a:t>Rejestrowanie / retesty incydentów.</a:t>
            </a:r>
            <a:endParaRPr lang="en-US" kern="0" dirty="0"/>
          </a:p>
        </p:txBody>
      </p:sp>
      <p:pic>
        <p:nvPicPr>
          <p:cNvPr id="6146" name="Picture 2" descr="C:\Users\bpld362\AppData\Local\Microsoft\Windows\Temporary Internet Files\Content.IE5\0367TPYG\photodune-5548515-business-people-and-mechanism-elements-m[1]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3861048"/>
            <a:ext cx="3028182" cy="2119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3604829"/>
            <a:ext cx="2070896" cy="2035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99387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cena spełnienia kryteriów zakończenia i raportowani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>
          <a:xfrm>
            <a:off x="588963" y="6597352"/>
            <a:ext cx="5016099" cy="230486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Volvo </a:t>
            </a:r>
            <a:r>
              <a:rPr lang="en-US" dirty="0">
                <a:solidFill>
                  <a:srgbClr val="000000"/>
                </a:solidFill>
              </a:rPr>
              <a:t>IT, </a:t>
            </a:r>
            <a:r>
              <a:rPr lang="en-US" dirty="0" err="1">
                <a:solidFill>
                  <a:srgbClr val="000000"/>
                </a:solidFill>
              </a:rPr>
              <a:t>Wrocław</a:t>
            </a:r>
            <a:r>
              <a:rPr lang="en-US" dirty="0">
                <a:solidFill>
                  <a:srgbClr val="000000"/>
                </a:solidFill>
              </a:rPr>
              <a:t>, Poland, </a:t>
            </a:r>
            <a:r>
              <a:rPr lang="pl-PL" dirty="0">
                <a:solidFill>
                  <a:srgbClr val="000000"/>
                </a:solidFill>
              </a:rPr>
              <a:t>January</a:t>
            </a:r>
            <a:r>
              <a:rPr lang="en-US" dirty="0">
                <a:solidFill>
                  <a:srgbClr val="000000"/>
                </a:solidFill>
              </a:rPr>
              <a:t> 201</a:t>
            </a:r>
            <a:r>
              <a:rPr lang="pl-PL" dirty="0">
                <a:solidFill>
                  <a:srgbClr val="000000"/>
                </a:solidFill>
              </a:rPr>
              <a:t>6</a:t>
            </a:r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772816"/>
            <a:ext cx="7772400" cy="3999334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kern="0" dirty="0" smtClean="0"/>
              <a:t>Sprawdzanie, czy kryteria zakończenia zostały spełnione</a:t>
            </a:r>
          </a:p>
          <a:p>
            <a:endParaRPr lang="pl-PL" kern="0" dirty="0" smtClean="0"/>
          </a:p>
          <a:p>
            <a:r>
              <a:rPr lang="pl-PL" kern="0" dirty="0" smtClean="0"/>
              <a:t>Sporządzenie raportu podsumowującego testy.</a:t>
            </a:r>
            <a:endParaRPr lang="en-US" kern="0" dirty="0" smtClean="0"/>
          </a:p>
        </p:txBody>
      </p:sp>
      <p:pic>
        <p:nvPicPr>
          <p:cNvPr id="7170" name="Picture 2" descr="C:\Users\bpld362\AppData\Local\Microsoft\Windows\Temporary Internet Files\Content.IE5\QNAZVMQD\checklist-verde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4088" y="3284984"/>
            <a:ext cx="3240360" cy="24302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3632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zynności zamykające test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kern="0" dirty="0" smtClean="0"/>
              <a:t>Upewnienie się co do ukończenia testów</a:t>
            </a:r>
          </a:p>
          <a:p>
            <a:r>
              <a:rPr lang="pl-PL" kern="0" dirty="0" smtClean="0"/>
              <a:t>Zamykanie incydentów lub tworzenie na ich bazie nowych wymagań</a:t>
            </a:r>
          </a:p>
          <a:p>
            <a:r>
              <a:rPr lang="pl-PL" kern="0" dirty="0" smtClean="0"/>
              <a:t>Archiwizowanie danych, które mogą być przydatne w przyszłości</a:t>
            </a:r>
          </a:p>
          <a:p>
            <a:r>
              <a:rPr lang="pl-PL" kern="0" dirty="0" smtClean="0"/>
              <a:t>Przekazanie testów i środowiska testowego do wsparcia</a:t>
            </a:r>
          </a:p>
          <a:p>
            <a:r>
              <a:rPr lang="pl-PL" kern="0" dirty="0" smtClean="0"/>
              <a:t>Wyciąganie wniosków na przyszłość.</a:t>
            </a:r>
            <a:endParaRPr lang="en-US" kern="0" dirty="0"/>
          </a:p>
          <a:p>
            <a:endParaRPr lang="en-US" kern="0" dirty="0" smtClean="0"/>
          </a:p>
        </p:txBody>
      </p:sp>
      <p:pic>
        <p:nvPicPr>
          <p:cNvPr id="8195" name="Picture 3" descr="C:\Users\bpld362\AppData\Local\Microsoft\Windows\Temporary Internet Files\Content.IE5\QNAZVMQD\Crystal_Project_Lock[1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2944" y="3360416"/>
            <a:ext cx="2438400" cy="2438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53282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Cykle testowe – Model Kaskadowy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5868144" y="1736372"/>
            <a:ext cx="3097609" cy="3744415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dirty="0" smtClean="0"/>
              <a:t>Każda faza musi zostać ukończona, zanim kolejna faza się rozpocznie</a:t>
            </a:r>
            <a:endParaRPr lang="en-US" kern="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1596694"/>
            <a:ext cx="5354832" cy="4023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81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noProof="0" smtClean="0"/>
              <a:pPr/>
              <a:t>2</a:t>
            </a:fld>
            <a:endParaRPr lang="en-US" noProof="0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319088" y="441325"/>
            <a:ext cx="8393112" cy="1143000"/>
          </a:xfrm>
        </p:spPr>
        <p:txBody>
          <a:bodyPr/>
          <a:lstStyle/>
          <a:p>
            <a:pPr eaLnBrk="1" hangingPunct="1"/>
            <a:r>
              <a:rPr lang="pl-PL" dirty="0" smtClean="0"/>
              <a:t>Agnieszka Grodzka</a:t>
            </a:r>
            <a:br>
              <a:rPr lang="pl-PL" dirty="0" smtClean="0"/>
            </a:br>
            <a:r>
              <a:rPr lang="pl-PL" sz="1700" dirty="0" smtClean="0"/>
              <a:t>agnieszka.grodzka@volvo.com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dirty="0" smtClean="0"/>
              <a:t/>
            </a:r>
            <a:br>
              <a:rPr lang="pl-PL" dirty="0" smtClean="0"/>
            </a:br>
            <a:r>
              <a:rPr lang="pl-PL" dirty="0"/>
              <a:t/>
            </a:r>
            <a:br>
              <a:rPr lang="pl-PL" dirty="0"/>
            </a:br>
            <a:endParaRPr lang="sv-SE" dirty="0" smtClean="0"/>
          </a:p>
        </p:txBody>
      </p:sp>
      <p:sp>
        <p:nvSpPr>
          <p:cNvPr id="25" name="Content Placeholder 2"/>
          <p:cNvSpPr>
            <a:spLocks noGrp="1"/>
          </p:cNvSpPr>
          <p:nvPr>
            <p:ph idx="1"/>
          </p:nvPr>
        </p:nvSpPr>
        <p:spPr>
          <a:xfrm>
            <a:off x="323528" y="1484784"/>
            <a:ext cx="7772400" cy="432048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 smtClean="0"/>
              <a:t>2004 – 2009  - Tester oprogramowania w firmie zajmującej się programem prawniczym i translatoram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kern="0" dirty="0" smtClean="0"/>
              <a:t>2009 – 2011 - Tester oprogramowania w firmie zajmującej się produktami ER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kern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 smtClean="0"/>
              <a:t>2012 – 2014.X - Quality Assurance </a:t>
            </a:r>
            <a:r>
              <a:rPr lang="pl-PL" dirty="0"/>
              <a:t>&amp; </a:t>
            </a:r>
            <a:r>
              <a:rPr lang="pl-PL" dirty="0" smtClean="0"/>
              <a:t>Test Engineer w Volvo IT (pracownik zewnętrzn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kern="0" dirty="0" smtClean="0"/>
              <a:t>Od 2014. - Quality Assurance </a:t>
            </a:r>
            <a:r>
              <a:rPr lang="pl-PL" dirty="0"/>
              <a:t>&amp; </a:t>
            </a:r>
            <a:r>
              <a:rPr lang="pl-PL" kern="0" dirty="0" smtClean="0"/>
              <a:t>Test Engineer w Volvo IT (pracownik wewnętrzny)</a:t>
            </a:r>
            <a:endParaRPr lang="pl-PL" kern="0" dirty="0"/>
          </a:p>
        </p:txBody>
      </p:sp>
    </p:spTree>
    <p:extLst>
      <p:ext uri="{BB962C8B-B14F-4D97-AF65-F5344CB8AC3E}">
        <p14:creationId xmlns:p14="http://schemas.microsoft.com/office/powerpoint/2010/main" val="32595256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odel V (Model Sekwencyjny)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5796136" y="1484785"/>
            <a:ext cx="2881584" cy="3822227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dirty="0" smtClean="0"/>
              <a:t>Testowanie przebiega równolegle z odpowiednią fazą dewelopmentu</a:t>
            </a:r>
          </a:p>
          <a:p>
            <a:endParaRPr lang="pl-PL" kern="0" dirty="0"/>
          </a:p>
          <a:p>
            <a:endParaRPr lang="pl-PL" kern="0" dirty="0" smtClean="0"/>
          </a:p>
          <a:p>
            <a:endParaRPr lang="en-US" kern="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224057"/>
            <a:ext cx="4608512" cy="4766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8470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3380" y="2571846"/>
            <a:ext cx="5791555" cy="35478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odele Iteracyjno-Przyrostowe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792087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kern="0" dirty="0" smtClean="0"/>
              <a:t>Proces definiowania wymagań, projektowania, implementowania i testowania systemu podzielony na serię krótkich cykli</a:t>
            </a:r>
          </a:p>
        </p:txBody>
      </p:sp>
    </p:spTree>
    <p:extLst>
      <p:ext uri="{BB962C8B-B14F-4D97-AF65-F5344CB8AC3E}">
        <p14:creationId xmlns:p14="http://schemas.microsoft.com/office/powerpoint/2010/main" val="760368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Jira - Backlog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22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1" y="1222859"/>
            <a:ext cx="8210177" cy="1360015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kern="0" dirty="0" smtClean="0"/>
              <a:t>Backlog jest priorytetyzowany przez klienta biznesowego</a:t>
            </a:r>
            <a:endParaRPr lang="en-US" kern="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679" y="1772816"/>
            <a:ext cx="8676456" cy="420265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966" y="2943076"/>
            <a:ext cx="7064160" cy="23639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010739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778" y="476672"/>
            <a:ext cx="8397875" cy="1143000"/>
          </a:xfrm>
        </p:spPr>
        <p:txBody>
          <a:bodyPr/>
          <a:lstStyle/>
          <a:p>
            <a:r>
              <a:rPr lang="pl-PL" dirty="0"/>
              <a:t>Jira – </a:t>
            </a:r>
            <a:r>
              <a:rPr lang="pl-PL" dirty="0" smtClean="0"/>
              <a:t>board dla bieżącego sprintu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23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pl-PL" kern="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580" y="1116137"/>
            <a:ext cx="8892480" cy="489615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579" y="2045494"/>
            <a:ext cx="3164159" cy="32615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2045494"/>
            <a:ext cx="3087902" cy="32615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8463" y="2049860"/>
            <a:ext cx="2941296" cy="32615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176" y="2049860"/>
            <a:ext cx="2987824" cy="327125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9446625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1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55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Agenda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24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Volvo Group </a:t>
            </a:r>
            <a:r>
              <a:rPr lang="pl-PL" kern="0" dirty="0"/>
              <a:t>i</a:t>
            </a:r>
            <a:r>
              <a:rPr lang="pl-PL" kern="0" dirty="0" smtClean="0"/>
              <a:t> Volvo 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Proces i cykle testow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b="1" kern="0" dirty="0" smtClean="0"/>
              <a:t>Techniki testowe</a:t>
            </a:r>
            <a:endParaRPr lang="en-US" b="1" kern="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Strategia i struktura testó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Planowanie i organizacj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Metryki i narzędzia testowe</a:t>
            </a:r>
          </a:p>
        </p:txBody>
      </p:sp>
      <p:pic>
        <p:nvPicPr>
          <p:cNvPr id="13" name="Picture 6" descr="C:\Users\bpl4027\AppData\Local\Temp\SNAGHTMLac614a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3938240"/>
            <a:ext cx="5191944" cy="2044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409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chniki testowe</a:t>
            </a: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25</a:t>
            </a:fld>
            <a:endParaRPr lang="sv-SE" dirty="0">
              <a:solidFill>
                <a:srgbClr val="000000"/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5621924"/>
              </p:ext>
            </p:extLst>
          </p:nvPr>
        </p:nvGraphicFramePr>
        <p:xfrm>
          <a:off x="1163960" y="1613026"/>
          <a:ext cx="6720408" cy="35317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60204"/>
                <a:gridCol w="3360204"/>
              </a:tblGrid>
              <a:tr h="537170">
                <a:tc>
                  <a:txBody>
                    <a:bodyPr/>
                    <a:lstStyle/>
                    <a:p>
                      <a:pPr algn="ctr"/>
                      <a:r>
                        <a:rPr lang="pl-PL" sz="2000" dirty="0" smtClean="0"/>
                        <a:t>STATYCZNE</a:t>
                      </a:r>
                      <a:endParaRPr lang="pl-PL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2000" dirty="0" smtClean="0"/>
                        <a:t>DYNAMICZNE</a:t>
                      </a:r>
                      <a:endParaRPr lang="pl-PL" sz="2000" dirty="0"/>
                    </a:p>
                  </a:txBody>
                  <a:tcPr/>
                </a:tc>
              </a:tr>
              <a:tr h="537170">
                <a:tc>
                  <a:txBody>
                    <a:bodyPr/>
                    <a:lstStyle/>
                    <a:p>
                      <a:pPr algn="ctr"/>
                      <a:r>
                        <a:rPr lang="pl-PL" b="1" dirty="0" smtClean="0"/>
                        <a:t>Nie wymaga </a:t>
                      </a:r>
                      <a:r>
                        <a:rPr lang="pl-PL" dirty="0" smtClean="0"/>
                        <a:t>uruchomienia kodu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b="1" dirty="0" smtClean="0"/>
                        <a:t>Wymaga </a:t>
                      </a:r>
                      <a:r>
                        <a:rPr lang="pl-PL" dirty="0" smtClean="0"/>
                        <a:t>uruchomienia kody</a:t>
                      </a:r>
                      <a:endParaRPr lang="pl-PL" dirty="0"/>
                    </a:p>
                  </a:txBody>
                  <a:tcPr/>
                </a:tc>
              </a:tr>
              <a:tr h="537170">
                <a:tc>
                  <a:txBody>
                    <a:bodyPr/>
                    <a:lstStyle/>
                    <a:p>
                      <a:pPr algn="ctr"/>
                      <a:r>
                        <a:rPr lang="pl-PL" b="0" dirty="0" smtClean="0"/>
                        <a:t>Wspiera</a:t>
                      </a:r>
                      <a:r>
                        <a:rPr lang="pl-PL" b="0" baseline="0" dirty="0" smtClean="0"/>
                        <a:t> </a:t>
                      </a:r>
                      <a:r>
                        <a:rPr lang="pl-PL" b="1" baseline="0" dirty="0" smtClean="0"/>
                        <a:t>weryfikacje</a:t>
                      </a:r>
                      <a:endParaRPr lang="pl-PL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/>
                        <a:t>Wspiera </a:t>
                      </a:r>
                      <a:r>
                        <a:rPr lang="pl-PL" b="1" dirty="0" smtClean="0"/>
                        <a:t>walidacje</a:t>
                      </a:r>
                      <a:endParaRPr lang="pl-PL" b="1" dirty="0"/>
                    </a:p>
                  </a:txBody>
                  <a:tcPr/>
                </a:tc>
              </a:tr>
              <a:tr h="537170"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/>
                        <a:t>Znajduje </a:t>
                      </a:r>
                      <a:r>
                        <a:rPr lang="pl-PL" b="1" dirty="0" smtClean="0"/>
                        <a:t>błędy</a:t>
                      </a:r>
                      <a:endParaRPr lang="pl-PL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baseline="0" dirty="0" smtClean="0"/>
                        <a:t>Wykrywa </a:t>
                      </a:r>
                      <a:r>
                        <a:rPr lang="pl-PL" b="1" baseline="0" dirty="0" smtClean="0"/>
                        <a:t>awarie</a:t>
                      </a:r>
                      <a:endParaRPr lang="pl-PL" b="1" dirty="0"/>
                    </a:p>
                  </a:txBody>
                  <a:tcPr/>
                </a:tc>
              </a:tr>
              <a:tr h="537170"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/>
                        <a:t>Wymaga </a:t>
                      </a:r>
                      <a:r>
                        <a:rPr lang="pl-PL" b="1" dirty="0" smtClean="0"/>
                        <a:t>checklisty</a:t>
                      </a:r>
                      <a:r>
                        <a:rPr lang="pl-PL" dirty="0" smtClean="0"/>
                        <a:t> lub procesu</a:t>
                      </a:r>
                      <a:endParaRPr lang="pl-P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dirty="0" smtClean="0"/>
                        <a:t>Wymaga </a:t>
                      </a:r>
                      <a:r>
                        <a:rPr lang="pl-PL" b="1" dirty="0" smtClean="0"/>
                        <a:t>test casów</a:t>
                      </a:r>
                      <a:endParaRPr lang="pl-PL" b="1" dirty="0"/>
                    </a:p>
                  </a:txBody>
                  <a:tcPr/>
                </a:tc>
              </a:tr>
              <a:tr h="537170">
                <a:tc>
                  <a:txBody>
                    <a:bodyPr/>
                    <a:lstStyle/>
                    <a:p>
                      <a:pPr algn="ctr"/>
                      <a:r>
                        <a:rPr lang="pl-PL" b="1" dirty="0" smtClean="0"/>
                        <a:t>Niższe</a:t>
                      </a:r>
                      <a:r>
                        <a:rPr lang="pl-PL" b="1" baseline="0" dirty="0" smtClean="0"/>
                        <a:t> koszty </a:t>
                      </a:r>
                      <a:r>
                        <a:rPr lang="pl-PL" b="0" baseline="0" dirty="0" smtClean="0"/>
                        <a:t>znalezienia i naprawy błędu</a:t>
                      </a:r>
                      <a:endParaRPr lang="pl-PL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b="1" baseline="0" dirty="0" smtClean="0"/>
                        <a:t>Wyższe koszty </a:t>
                      </a:r>
                      <a:r>
                        <a:rPr lang="pl-PL" b="0" baseline="0" dirty="0" smtClean="0"/>
                        <a:t>znalezienia i naprawy błędu</a:t>
                      </a:r>
                      <a:endParaRPr lang="pl-PL" b="0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49132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chniki statyczne</a:t>
            </a:r>
            <a:endParaRPr lang="en-GB" sz="1800" dirty="0">
              <a:latin typeface="+mn-lt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323528" y="1844824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kern="0" dirty="0" smtClean="0"/>
              <a:t>Przegląd</a:t>
            </a:r>
          </a:p>
          <a:p>
            <a:pPr marL="611188" lvl="1" indent="-285750">
              <a:buFont typeface="Arial" panose="020B0604020202020204" pitchFamily="34" charset="0"/>
              <a:buChar char="•"/>
            </a:pPr>
            <a:r>
              <a:rPr lang="pl-PL" kern="0" dirty="0" smtClean="0"/>
              <a:t>Formalny</a:t>
            </a:r>
          </a:p>
          <a:p>
            <a:pPr marL="611188" lvl="1" indent="-285750">
              <a:buFont typeface="Arial" panose="020B0604020202020204" pitchFamily="34" charset="0"/>
              <a:buChar char="•"/>
            </a:pPr>
            <a:r>
              <a:rPr lang="pl-PL" kern="0" dirty="0" smtClean="0"/>
              <a:t>Nieformalny</a:t>
            </a:r>
          </a:p>
          <a:p>
            <a:pPr marL="611188" lvl="1" indent="-285750">
              <a:buFont typeface="Arial" panose="020B0604020202020204" pitchFamily="34" charset="0"/>
              <a:buChar char="•"/>
            </a:pPr>
            <a:r>
              <a:rPr lang="pl-PL" kern="0" dirty="0" smtClean="0"/>
              <a:t>Przegląd techniczny</a:t>
            </a:r>
          </a:p>
          <a:p>
            <a:pPr marL="611188" lvl="1" indent="-285750">
              <a:buFont typeface="Arial" panose="020B0604020202020204" pitchFamily="34" charset="0"/>
              <a:buChar char="•"/>
            </a:pPr>
            <a:r>
              <a:rPr lang="pl-PL" kern="0" dirty="0" smtClean="0"/>
              <a:t>Inspekcj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kern="0" dirty="0" smtClean="0"/>
              <a:t>Analiza statyczn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3074" name="Picture 2" descr="http://www.rzeszow4u.pl/upload/Aktualnosci/akt-24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0024" y="1988840"/>
            <a:ext cx="2945904" cy="2283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25737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chniki projektowania testów</a:t>
            </a: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27</a:t>
            </a:fld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1100" y="2722603"/>
            <a:ext cx="1621496" cy="1941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ounded Rectangle 7"/>
          <p:cNvSpPr/>
          <p:nvPr/>
        </p:nvSpPr>
        <p:spPr bwMode="auto">
          <a:xfrm>
            <a:off x="1359764" y="2204864"/>
            <a:ext cx="1909528" cy="443388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dirty="0" smtClean="0">
                <a:latin typeface="Arial" charset="0"/>
              </a:rPr>
              <a:t>BLACK-BOX</a:t>
            </a:r>
            <a:endParaRPr kumimoji="0" lang="pl-PL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5148064" y="2204864"/>
            <a:ext cx="1726367" cy="443388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dirty="0" smtClean="0">
                <a:latin typeface="Arial" charset="0"/>
              </a:rPr>
              <a:t>WHITE-BOX</a:t>
            </a:r>
            <a:endParaRPr kumimoji="0" lang="pl-PL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016" y="2703415"/>
            <a:ext cx="1700851" cy="1955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87958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chniki Black-box</a:t>
            </a:r>
            <a:br>
              <a:rPr lang="pl-PL" dirty="0" smtClean="0"/>
            </a:br>
            <a:r>
              <a:rPr lang="pl-PL" sz="2000" dirty="0" smtClean="0"/>
              <a:t>Partycje równoważne</a:t>
            </a: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28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323528" y="1844824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dirty="0"/>
              <a:t>W</a:t>
            </a:r>
            <a:r>
              <a:rPr lang="pl-PL" dirty="0" smtClean="0"/>
              <a:t>ejścia systemu </a:t>
            </a:r>
            <a:r>
              <a:rPr lang="pl-PL" dirty="0"/>
              <a:t>są dzielone </a:t>
            </a:r>
            <a:r>
              <a:rPr lang="pl-PL" dirty="0" smtClean="0"/>
              <a:t>na grupy</a:t>
            </a:r>
            <a:r>
              <a:rPr lang="pl-PL" dirty="0"/>
              <a:t>, które powodują podobne zachowanie </a:t>
            </a:r>
            <a:r>
              <a:rPr lang="pl-PL" dirty="0" smtClean="0"/>
              <a:t>oprogramowania</a:t>
            </a:r>
          </a:p>
          <a:p>
            <a:pPr>
              <a:buFont typeface="Arial" panose="020B0604020202020204" pitchFamily="34" charset="0"/>
              <a:buChar char="•"/>
            </a:pPr>
            <a:endParaRPr lang="pl-PL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Wyznaczane są klasy równoważności dla </a:t>
            </a:r>
            <a:r>
              <a:rPr lang="pl-PL" dirty="0"/>
              <a:t>danych poprawnych </a:t>
            </a:r>
            <a:r>
              <a:rPr lang="pl-PL" dirty="0" smtClean="0"/>
              <a:t>oraz</a:t>
            </a:r>
            <a:r>
              <a:rPr lang="pl-PL" dirty="0"/>
              <a:t> </a:t>
            </a:r>
            <a:r>
              <a:rPr lang="pl-PL" dirty="0" smtClean="0"/>
              <a:t>niepoprawnych</a:t>
            </a:r>
          </a:p>
          <a:p>
            <a:pPr>
              <a:buFont typeface="Arial" panose="020B0604020202020204" pitchFamily="34" charset="0"/>
              <a:buChar char="•"/>
            </a:pPr>
            <a:endParaRPr lang="pl-PL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Stosowana na każdym poziomie testów</a:t>
            </a:r>
            <a:endParaRPr lang="pl-PL" dirty="0"/>
          </a:p>
        </p:txBody>
      </p:sp>
      <p:pic>
        <p:nvPicPr>
          <p:cNvPr id="1026" name="Picture 2" descr="C:\Users\bpld362\AppData\Local\Microsoft\Windows\Temporary Internet Files\Content.IE5\YZR2F9YT\Blackbox3D[1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2040" y="4581128"/>
            <a:ext cx="3810000" cy="1038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99248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chniki Black-box</a:t>
            </a:r>
            <a:br>
              <a:rPr lang="pl-PL" dirty="0"/>
            </a:br>
            <a:r>
              <a:rPr lang="pl-PL" sz="2000" dirty="0"/>
              <a:t>Partycje równoważne</a:t>
            </a: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29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/>
        </p:nvSpPr>
        <p:spPr bwMode="auto">
          <a:xfrm>
            <a:off x="2627784" y="2492896"/>
            <a:ext cx="2088232" cy="112179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4716016" y="2492896"/>
            <a:ext cx="2088232" cy="112179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3356536" y="2832099"/>
            <a:ext cx="630728" cy="443388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dirty="0" smtClean="0">
                <a:latin typeface="Arial" charset="0"/>
              </a:rPr>
              <a:t>X&lt;0</a:t>
            </a:r>
            <a:endParaRPr kumimoji="0" lang="pl-PL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5444768" y="2832099"/>
            <a:ext cx="630728" cy="443388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dirty="0" smtClean="0">
                <a:latin typeface="Arial" charset="0"/>
              </a:rPr>
              <a:t>X&gt;=0</a:t>
            </a:r>
            <a:endParaRPr kumimoji="0" lang="pl-PL" sz="2000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7893" y="3995772"/>
            <a:ext cx="29033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Equivalence partition no. 1</a:t>
            </a:r>
            <a:endParaRPr lang="pl-PL" dirty="0"/>
          </a:p>
        </p:txBody>
      </p:sp>
      <p:sp>
        <p:nvSpPr>
          <p:cNvPr id="14" name="TextBox 13"/>
          <p:cNvSpPr txBox="1"/>
          <p:nvPr/>
        </p:nvSpPr>
        <p:spPr>
          <a:xfrm>
            <a:off x="5670780" y="3995772"/>
            <a:ext cx="290335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Equivalence partition no. 2</a:t>
            </a:r>
            <a:endParaRPr lang="pl-PL" dirty="0"/>
          </a:p>
        </p:txBody>
      </p:sp>
      <p:cxnSp>
        <p:nvCxnSpPr>
          <p:cNvPr id="15" name="Straight Arrow Connector 14"/>
          <p:cNvCxnSpPr>
            <a:stCxn id="6" idx="0"/>
            <a:endCxn id="11" idx="2"/>
          </p:cNvCxnSpPr>
          <p:nvPr/>
        </p:nvCxnSpPr>
        <p:spPr bwMode="auto">
          <a:xfrm flipV="1">
            <a:off x="2309573" y="3275487"/>
            <a:ext cx="1362327" cy="7202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Arrow Connector 16"/>
          <p:cNvCxnSpPr>
            <a:stCxn id="14" idx="0"/>
            <a:endCxn id="12" idx="2"/>
          </p:cNvCxnSpPr>
          <p:nvPr/>
        </p:nvCxnSpPr>
        <p:spPr bwMode="auto">
          <a:xfrm flipH="1" flipV="1">
            <a:off x="5760132" y="3275487"/>
            <a:ext cx="1362328" cy="72028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Box 20"/>
          <p:cNvSpPr txBox="1"/>
          <p:nvPr/>
        </p:nvSpPr>
        <p:spPr>
          <a:xfrm>
            <a:off x="857893" y="4869160"/>
            <a:ext cx="261052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b="1" dirty="0" smtClean="0"/>
              <a:t>Test case no. 1: x = -3</a:t>
            </a:r>
          </a:p>
          <a:p>
            <a:r>
              <a:rPr lang="pl-PL" b="1" dirty="0" smtClean="0"/>
              <a:t>Test case no. 2: x = 10</a:t>
            </a:r>
            <a:endParaRPr lang="pl-PL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5163398" y="1613872"/>
            <a:ext cx="11934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Valid data</a:t>
            </a:r>
            <a:endParaRPr lang="pl-PL" dirty="0"/>
          </a:p>
        </p:txBody>
      </p:sp>
      <p:sp>
        <p:nvSpPr>
          <p:cNvPr id="19" name="TextBox 18"/>
          <p:cNvSpPr txBox="1"/>
          <p:nvPr/>
        </p:nvSpPr>
        <p:spPr>
          <a:xfrm>
            <a:off x="2989662" y="1613872"/>
            <a:ext cx="13644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Invalid data</a:t>
            </a:r>
            <a:endParaRPr lang="pl-PL" dirty="0"/>
          </a:p>
        </p:txBody>
      </p:sp>
      <p:cxnSp>
        <p:nvCxnSpPr>
          <p:cNvPr id="7" name="Straight Arrow Connector 6"/>
          <p:cNvCxnSpPr>
            <a:stCxn id="19" idx="2"/>
            <a:endCxn id="11" idx="0"/>
          </p:cNvCxnSpPr>
          <p:nvPr/>
        </p:nvCxnSpPr>
        <p:spPr bwMode="auto">
          <a:xfrm>
            <a:off x="3671900" y="1983204"/>
            <a:ext cx="0" cy="8488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/>
          <p:cNvCxnSpPr>
            <a:stCxn id="18" idx="2"/>
          </p:cNvCxnSpPr>
          <p:nvPr/>
        </p:nvCxnSpPr>
        <p:spPr bwMode="auto">
          <a:xfrm>
            <a:off x="5760132" y="1983204"/>
            <a:ext cx="0" cy="8488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884739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9" grpId="0" animBg="1"/>
      <p:bldP spid="11" grpId="0" animBg="1"/>
      <p:bldP spid="12" grpId="0" animBg="1"/>
      <p:bldP spid="6" grpId="0"/>
      <p:bldP spid="14" grpId="0"/>
      <p:bldP spid="21" grpId="0"/>
      <p:bldP spid="18" grpId="0"/>
      <p:bldP spid="1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52425" y="6619875"/>
            <a:ext cx="392113" cy="207963"/>
          </a:xfrm>
        </p:spPr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19088" y="441325"/>
            <a:ext cx="8397875" cy="1143000"/>
          </a:xfrm>
        </p:spPr>
        <p:txBody>
          <a:bodyPr/>
          <a:lstStyle/>
          <a:p>
            <a:r>
              <a:rPr lang="pl-PL" dirty="0" smtClean="0"/>
              <a:t>Andrzej Zdebik</a:t>
            </a:r>
            <a:br>
              <a:rPr lang="pl-PL" dirty="0" smtClean="0"/>
            </a:br>
            <a:r>
              <a:rPr lang="pl-PL" sz="1800" dirty="0" smtClean="0">
                <a:latin typeface="+mn-lt"/>
              </a:rPr>
              <a:t>andrzej.zdebik@volvo.com</a:t>
            </a:r>
            <a:endParaRPr lang="en-GB" sz="1800" dirty="0">
              <a:latin typeface="+mn-lt"/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22263" y="1876425"/>
            <a:ext cx="7772400" cy="389572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 smtClean="0"/>
              <a:t>2007 </a:t>
            </a:r>
            <a:r>
              <a:rPr lang="pl-PL" dirty="0"/>
              <a:t>- 2011</a:t>
            </a:r>
          </a:p>
          <a:p>
            <a:pPr lvl="1"/>
            <a:r>
              <a:rPr lang="pl-PL" dirty="0" smtClean="0"/>
              <a:t>Tester oprogramowania / Lider testów w BZ WBK</a:t>
            </a: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 smtClean="0"/>
              <a:t>2012</a:t>
            </a:r>
            <a:endParaRPr lang="pl-PL" dirty="0"/>
          </a:p>
          <a:p>
            <a:pPr lvl="1"/>
            <a:r>
              <a:rPr lang="pl-PL" dirty="0"/>
              <a:t>Quality Assurance &amp; Test Engineer </a:t>
            </a:r>
            <a:r>
              <a:rPr lang="pl-PL" dirty="0" smtClean="0"/>
              <a:t>w </a:t>
            </a:r>
            <a:r>
              <a:rPr lang="pl-PL" dirty="0"/>
              <a:t>Volvo IT </a:t>
            </a:r>
            <a:br>
              <a:rPr lang="pl-PL" dirty="0"/>
            </a:br>
            <a:r>
              <a:rPr lang="pl-PL" dirty="0" smtClean="0"/>
              <a:t>rola: Tester oprogramowania (pracownik zewnętrzny)</a:t>
            </a:r>
            <a:endParaRPr lang="pl-PL" dirty="0"/>
          </a:p>
          <a:p>
            <a:endParaRPr lang="pl-PL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pl-PL" dirty="0" smtClean="0"/>
              <a:t>Od 2013. </a:t>
            </a:r>
            <a:endParaRPr lang="pl-PL" dirty="0"/>
          </a:p>
          <a:p>
            <a:pPr lvl="1"/>
            <a:r>
              <a:rPr lang="pl-PL" dirty="0"/>
              <a:t>Quality Assurance &amp; Test Engineer w</a:t>
            </a:r>
            <a:r>
              <a:rPr lang="pl-PL" dirty="0" smtClean="0"/>
              <a:t> </a:t>
            </a:r>
            <a:r>
              <a:rPr lang="pl-PL" dirty="0"/>
              <a:t>Volvo IT </a:t>
            </a:r>
            <a:br>
              <a:rPr lang="pl-PL" dirty="0"/>
            </a:br>
            <a:r>
              <a:rPr lang="pl-PL" dirty="0" smtClean="0"/>
              <a:t>rola: </a:t>
            </a:r>
            <a:r>
              <a:rPr lang="pl-PL" dirty="0"/>
              <a:t>Test Manager </a:t>
            </a:r>
            <a:r>
              <a:rPr lang="pl-PL" dirty="0" smtClean="0"/>
              <a:t>(pracownik wewnętrzny)</a:t>
            </a:r>
            <a:endParaRPr lang="pl-PL" dirty="0"/>
          </a:p>
        </p:txBody>
      </p:sp>
      <p:sp>
        <p:nvSpPr>
          <p:cNvPr id="14" name="Slide Number Placeholder 3"/>
          <p:cNvSpPr txBox="1">
            <a:spLocks/>
          </p:cNvSpPr>
          <p:nvPr/>
        </p:nvSpPr>
        <p:spPr bwMode="auto">
          <a:xfrm>
            <a:off x="352425" y="6619875"/>
            <a:ext cx="39211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AEAEA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defPPr>
              <a:defRPr lang="pl-PL"/>
            </a:defPPr>
            <a:lvl1pPr marL="0" algn="l" defTabSz="914400" rtl="0" eaLnBrk="1" latinLnBrk="0" hangingPunct="1">
              <a:spcBef>
                <a:spcPct val="0"/>
              </a:spcBef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065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chniki Black-box</a:t>
            </a:r>
            <a:br>
              <a:rPr lang="pl-PL" dirty="0"/>
            </a:br>
            <a:r>
              <a:rPr lang="pl-PL" sz="2000" dirty="0" smtClean="0"/>
              <a:t>Analiza wartości brzegowych</a:t>
            </a: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0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323528" y="1844824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Rozszerzenie techniki równoważnych partycji</a:t>
            </a:r>
          </a:p>
          <a:p>
            <a:pPr>
              <a:buFont typeface="Arial" panose="020B0604020202020204" pitchFamily="34" charset="0"/>
              <a:buChar char="•"/>
            </a:pPr>
            <a:endParaRPr lang="pl-PL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Projektowanie testów dla minimum </a:t>
            </a:r>
            <a:r>
              <a:rPr lang="pl-PL" dirty="0"/>
              <a:t>i maksimum klasy </a:t>
            </a:r>
            <a:r>
              <a:rPr lang="pl-PL" dirty="0" smtClean="0"/>
              <a:t>równoważności – duże prawdopodobieństwo wykrycia błędu</a:t>
            </a:r>
          </a:p>
          <a:p>
            <a:pPr>
              <a:buFont typeface="Arial" panose="020B0604020202020204" pitchFamily="34" charset="0"/>
              <a:buChar char="•"/>
            </a:pPr>
            <a:endParaRPr lang="pl-PL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Stosowanana </a:t>
            </a:r>
            <a:r>
              <a:rPr lang="pl-PL" dirty="0"/>
              <a:t>każdym poziomie </a:t>
            </a:r>
            <a:r>
              <a:rPr lang="pl-PL" dirty="0" smtClean="0"/>
              <a:t>testowania</a:t>
            </a:r>
          </a:p>
        </p:txBody>
      </p:sp>
      <p:pic>
        <p:nvPicPr>
          <p:cNvPr id="6146" name="Picture 2" descr="C:\Users\bpld362\AppData\Local\Microsoft\Windows\Temporary Internet Files\Content.IE5\Z7SESWQY\220px-Analyzing_Financial_Data_(5099605109)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8144" y="3619072"/>
            <a:ext cx="3175000" cy="2121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73446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chniki Black-box</a:t>
            </a:r>
            <a:br>
              <a:rPr lang="pl-PL" dirty="0"/>
            </a:br>
            <a:r>
              <a:rPr lang="pl-PL" sz="2000" dirty="0"/>
              <a:t>Analiza wartości brzegowych</a:t>
            </a:r>
            <a:endParaRPr lang="en-GB" sz="20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1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348170" y="4869160"/>
            <a:ext cx="255922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b="1" dirty="0" smtClean="0"/>
              <a:t>Test case no. 1: x = -1</a:t>
            </a:r>
          </a:p>
          <a:p>
            <a:r>
              <a:rPr lang="pl-PL" b="1" dirty="0" smtClean="0"/>
              <a:t>Test case no. 2: x = 0</a:t>
            </a:r>
          </a:p>
          <a:p>
            <a:r>
              <a:rPr lang="pl-PL" b="1" dirty="0" smtClean="0"/>
              <a:t>Test case no. 3: x = 1</a:t>
            </a:r>
            <a:endParaRPr lang="pl-PL" b="1" dirty="0"/>
          </a:p>
        </p:txBody>
      </p:sp>
      <p:sp>
        <p:nvSpPr>
          <p:cNvPr id="24" name="Oval 23"/>
          <p:cNvSpPr/>
          <p:nvPr/>
        </p:nvSpPr>
        <p:spPr bwMode="auto">
          <a:xfrm>
            <a:off x="2519772" y="2422206"/>
            <a:ext cx="216024" cy="216000"/>
          </a:xfrm>
          <a:prstGeom prst="ellips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464117" y="2887958"/>
            <a:ext cx="32733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00" dirty="0" smtClean="0"/>
              <a:t>0</a:t>
            </a:r>
            <a:endParaRPr lang="pl-PL" sz="2000" dirty="0"/>
          </a:p>
        </p:txBody>
      </p:sp>
      <p:sp>
        <p:nvSpPr>
          <p:cNvPr id="26" name="TextBox 25"/>
          <p:cNvSpPr txBox="1"/>
          <p:nvPr/>
        </p:nvSpPr>
        <p:spPr>
          <a:xfrm>
            <a:off x="1445409" y="3851756"/>
            <a:ext cx="2364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Boundary value no. 1</a:t>
            </a:r>
            <a:endParaRPr lang="pl-PL" dirty="0"/>
          </a:p>
        </p:txBody>
      </p:sp>
      <p:cxnSp>
        <p:nvCxnSpPr>
          <p:cNvPr id="37" name="Straight Arrow Connector 36"/>
          <p:cNvCxnSpPr/>
          <p:nvPr/>
        </p:nvCxnSpPr>
        <p:spPr bwMode="auto">
          <a:xfrm>
            <a:off x="857893" y="2530206"/>
            <a:ext cx="7818563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Oval 37"/>
          <p:cNvSpPr/>
          <p:nvPr/>
        </p:nvSpPr>
        <p:spPr bwMode="auto">
          <a:xfrm>
            <a:off x="6696236" y="2420888"/>
            <a:ext cx="216024" cy="21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621873" y="3851756"/>
            <a:ext cx="23647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Boundary value no. 2</a:t>
            </a:r>
            <a:endParaRPr lang="pl-PL" dirty="0"/>
          </a:p>
        </p:txBody>
      </p:sp>
      <p:sp>
        <p:nvSpPr>
          <p:cNvPr id="20" name="TextBox 19"/>
          <p:cNvSpPr txBox="1"/>
          <p:nvPr/>
        </p:nvSpPr>
        <p:spPr>
          <a:xfrm>
            <a:off x="6497914" y="2887958"/>
            <a:ext cx="61266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00" dirty="0" smtClean="0"/>
              <a:t>100</a:t>
            </a:r>
            <a:endParaRPr lang="pl-PL" sz="2000" dirty="0"/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2627784" y="2528888"/>
            <a:ext cx="4068452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3" name="TextBox 22"/>
          <p:cNvSpPr txBox="1"/>
          <p:nvPr/>
        </p:nvSpPr>
        <p:spPr>
          <a:xfrm>
            <a:off x="5434865" y="4869160"/>
            <a:ext cx="273876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b="1" dirty="0" smtClean="0"/>
              <a:t>Test case no. 4: x = 98</a:t>
            </a:r>
          </a:p>
          <a:p>
            <a:r>
              <a:rPr lang="pl-PL" b="1" dirty="0" smtClean="0"/>
              <a:t>Test case no. 5: x = 99</a:t>
            </a:r>
          </a:p>
          <a:p>
            <a:r>
              <a:rPr lang="pl-PL" b="1" dirty="0" smtClean="0"/>
              <a:t>Test case no. 6: x = 100</a:t>
            </a:r>
            <a:endParaRPr lang="pl-PL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3861951" y="1883778"/>
            <a:ext cx="16001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2000" dirty="0"/>
              <a:t>x</a:t>
            </a:r>
            <a:r>
              <a:rPr lang="pl-PL" sz="2000" dirty="0" smtClean="0"/>
              <a:t>&gt;=0, x&lt;100</a:t>
            </a:r>
            <a:endParaRPr lang="pl-PL" sz="2000" dirty="0"/>
          </a:p>
        </p:txBody>
      </p:sp>
      <p:cxnSp>
        <p:nvCxnSpPr>
          <p:cNvPr id="14" name="Straight Arrow Connector 13"/>
          <p:cNvCxnSpPr>
            <a:stCxn id="26" idx="0"/>
            <a:endCxn id="25" idx="2"/>
          </p:cNvCxnSpPr>
          <p:nvPr/>
        </p:nvCxnSpPr>
        <p:spPr bwMode="auto">
          <a:xfrm flipV="1">
            <a:off x="2627784" y="3288068"/>
            <a:ext cx="0" cy="5636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Arrow Connector 16"/>
          <p:cNvCxnSpPr>
            <a:stCxn id="19" idx="0"/>
            <a:endCxn id="20" idx="2"/>
          </p:cNvCxnSpPr>
          <p:nvPr/>
        </p:nvCxnSpPr>
        <p:spPr bwMode="auto">
          <a:xfrm flipV="1">
            <a:off x="6804248" y="3288068"/>
            <a:ext cx="0" cy="56368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TextBox 20"/>
          <p:cNvSpPr txBox="1"/>
          <p:nvPr/>
        </p:nvSpPr>
        <p:spPr>
          <a:xfrm>
            <a:off x="3861951" y="1332280"/>
            <a:ext cx="15653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Valid partition</a:t>
            </a:r>
            <a:endParaRPr lang="pl-PL" dirty="0"/>
          </a:p>
        </p:txBody>
      </p:sp>
      <p:sp>
        <p:nvSpPr>
          <p:cNvPr id="22" name="TextBox 21"/>
          <p:cNvSpPr txBox="1"/>
          <p:nvPr/>
        </p:nvSpPr>
        <p:spPr>
          <a:xfrm>
            <a:off x="783399" y="1356755"/>
            <a:ext cx="1736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Invalid partition</a:t>
            </a:r>
            <a:endParaRPr lang="pl-PL" dirty="0"/>
          </a:p>
        </p:txBody>
      </p:sp>
      <p:sp>
        <p:nvSpPr>
          <p:cNvPr id="28" name="TextBox 27"/>
          <p:cNvSpPr txBox="1"/>
          <p:nvPr/>
        </p:nvSpPr>
        <p:spPr>
          <a:xfrm>
            <a:off x="6912260" y="1367088"/>
            <a:ext cx="17363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Invalid partition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465370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24" grpId="0" animBg="1"/>
      <p:bldP spid="25" grpId="0"/>
      <p:bldP spid="26" grpId="0"/>
      <p:bldP spid="38" grpId="0" animBg="1"/>
      <p:bldP spid="19" grpId="0"/>
      <p:bldP spid="20" grpId="0"/>
      <p:bldP spid="23" grpId="0"/>
      <p:bldP spid="27" grpId="0"/>
      <p:bldP spid="21" grpId="0"/>
      <p:bldP spid="22" grpId="0"/>
      <p:bldP spid="28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chniki Black-box</a:t>
            </a:r>
            <a:br>
              <a:rPr lang="pl-PL" dirty="0"/>
            </a:br>
            <a:r>
              <a:rPr lang="pl-PL" sz="2000" dirty="0" smtClean="0"/>
              <a:t>Tablice decyzyjne</a:t>
            </a:r>
            <a:endParaRPr lang="en-GB" sz="20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2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323528" y="1844824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Warunki </a:t>
            </a:r>
            <a:r>
              <a:rPr lang="pl-PL" dirty="0"/>
              <a:t>wejściowe </a:t>
            </a:r>
            <a:r>
              <a:rPr lang="pl-PL" dirty="0" smtClean="0"/>
              <a:t>oraz zachowanie </a:t>
            </a:r>
            <a:r>
              <a:rPr lang="pl-PL" dirty="0"/>
              <a:t>systemu </a:t>
            </a:r>
            <a:r>
              <a:rPr lang="pl-PL" dirty="0" smtClean="0"/>
              <a:t>zapisane </a:t>
            </a:r>
            <a:r>
              <a:rPr lang="pl-PL" dirty="0"/>
              <a:t>jako prawda lub </a:t>
            </a:r>
            <a:r>
              <a:rPr lang="pl-PL" dirty="0" smtClean="0"/>
              <a:t>fałsz</a:t>
            </a:r>
          </a:p>
          <a:p>
            <a:pPr>
              <a:buFont typeface="Arial" panose="020B0604020202020204" pitchFamily="34" charset="0"/>
              <a:buChar char="•"/>
            </a:pPr>
            <a:endParaRPr lang="pl-PL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Tabela decyzyjna </a:t>
            </a:r>
            <a:r>
              <a:rPr lang="pl-PL" dirty="0"/>
              <a:t>zawiera warunki </a:t>
            </a:r>
            <a:r>
              <a:rPr lang="pl-PL" dirty="0" smtClean="0"/>
              <a:t>uruchamiające </a:t>
            </a:r>
          </a:p>
          <a:p>
            <a:pPr>
              <a:buFont typeface="Arial" panose="020B0604020202020204" pitchFamily="34" charset="0"/>
              <a:buChar char="•"/>
            </a:pPr>
            <a:endParaRPr lang="pl-PL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Każda </a:t>
            </a:r>
            <a:r>
              <a:rPr lang="pl-PL" dirty="0"/>
              <a:t>kolumna tabeli odpowiada jednej regule </a:t>
            </a:r>
            <a:r>
              <a:rPr lang="pl-PL" dirty="0" smtClean="0"/>
              <a:t>biznesowej</a:t>
            </a:r>
          </a:p>
        </p:txBody>
      </p:sp>
      <p:pic>
        <p:nvPicPr>
          <p:cNvPr id="6" name="Picture 2" descr="http://www.adesblog.com/images/large_random_number_generator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872" y="4365104"/>
            <a:ext cx="5644297" cy="1768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72401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chniki Black-box</a:t>
            </a:r>
            <a:br>
              <a:rPr lang="pl-PL" dirty="0"/>
            </a:br>
            <a:r>
              <a:rPr lang="pl-PL" sz="2000" dirty="0"/>
              <a:t>Tablice decyzyjne</a:t>
            </a:r>
            <a:endParaRPr lang="en-GB" sz="20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3</a:t>
            </a:fld>
            <a:endParaRPr lang="sv-SE" dirty="0">
              <a:solidFill>
                <a:srgbClr val="000000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6965944"/>
              </p:ext>
            </p:extLst>
          </p:nvPr>
        </p:nvGraphicFramePr>
        <p:xfrm>
          <a:off x="1403648" y="2708920"/>
          <a:ext cx="6241679" cy="295158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00127"/>
                <a:gridCol w="2867575"/>
                <a:gridCol w="743307"/>
                <a:gridCol w="743307"/>
                <a:gridCol w="744056"/>
                <a:gridCol w="743307"/>
              </a:tblGrid>
              <a:tr h="327954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CONDITIONS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RULES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32795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 smtClean="0">
                          <a:effectLst/>
                        </a:rPr>
                        <a:t>Red </a:t>
                      </a:r>
                      <a:r>
                        <a:rPr lang="pl-PL" sz="1100" dirty="0">
                          <a:effectLst/>
                        </a:rPr>
                        <a:t>light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False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False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True</a:t>
                      </a:r>
                      <a:endParaRPr lang="pl-PL" sz="1100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True</a:t>
                      </a:r>
                      <a:endParaRPr lang="pl-PL" sz="1100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2795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Yellow light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False</a:t>
                      </a:r>
                      <a:endParaRPr lang="pl-PL" sz="1100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True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False</a:t>
                      </a:r>
                      <a:endParaRPr lang="pl-PL" sz="1100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True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2795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 smtClean="0">
                          <a:effectLst/>
                        </a:rPr>
                        <a:t>Green </a:t>
                      </a:r>
                      <a:r>
                        <a:rPr lang="pl-PL" sz="1100" dirty="0">
                          <a:effectLst/>
                        </a:rPr>
                        <a:t>light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True</a:t>
                      </a:r>
                      <a:endParaRPr lang="pl-PL" sz="1100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False</a:t>
                      </a:r>
                      <a:endParaRPr lang="pl-PL" sz="1100" dirty="0" smtClean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False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False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27954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ACTIONS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 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</a:tr>
              <a:tr h="32795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You can drive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X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2795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Stop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X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2795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Be ready to drive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X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2795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Stop immediately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X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>
                          <a:effectLst/>
                        </a:rPr>
                        <a:t> </a:t>
                      </a:r>
                      <a:endParaRPr lang="pl-PL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l-PL" sz="1100" dirty="0">
                          <a:effectLst/>
                        </a:rPr>
                        <a:t> </a:t>
                      </a:r>
                      <a:endParaRPr lang="pl-PL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1999" y="692696"/>
            <a:ext cx="3171825" cy="177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06094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chniki Black-box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2000" dirty="0" smtClean="0"/>
              <a:t>Przejścia między stanami</a:t>
            </a: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4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18" name="Content Placeholder 2"/>
          <p:cNvSpPr txBox="1">
            <a:spLocks/>
          </p:cNvSpPr>
          <p:nvPr/>
        </p:nvSpPr>
        <p:spPr bwMode="auto">
          <a:xfrm>
            <a:off x="323528" y="1844824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Zachowanie </a:t>
            </a:r>
            <a:r>
              <a:rPr lang="pl-PL" dirty="0"/>
              <a:t>systemu można opisać diagramem przejść stanó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Pokrycie testami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typowe </a:t>
            </a:r>
            <a:r>
              <a:rPr lang="pl-PL" dirty="0"/>
              <a:t>sekwencje </a:t>
            </a:r>
            <a:r>
              <a:rPr lang="pl-PL" dirty="0" smtClean="0"/>
              <a:t>stanó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każdy stan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każde przejści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konkretny </a:t>
            </a:r>
            <a:r>
              <a:rPr lang="pl-PL" dirty="0"/>
              <a:t>ciąg </a:t>
            </a:r>
            <a:r>
              <a:rPr lang="pl-PL" dirty="0" smtClean="0"/>
              <a:t>przejść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358253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chniki Black-box</a:t>
            </a:r>
            <a:br>
              <a:rPr lang="pl-PL" dirty="0"/>
            </a:br>
            <a:r>
              <a:rPr lang="pl-PL" sz="2000" dirty="0"/>
              <a:t>Przejścia między stanami</a:t>
            </a:r>
            <a:endParaRPr lang="en-GB" sz="20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5</a:t>
            </a:fld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2050" name="Picture 2" descr="http://testnbug.com/wp-content/uploads/2015/01/State-Transistio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484784"/>
            <a:ext cx="6779146" cy="4352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03111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0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chniki Black-box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2000" dirty="0" smtClean="0"/>
              <a:t>Przypadki użycia</a:t>
            </a:r>
            <a:endParaRPr lang="en-GB" sz="1800" dirty="0">
              <a:latin typeface="+mn-lt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323528" y="1844824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Opisuje interakcje </a:t>
            </a:r>
            <a:r>
              <a:rPr lang="pl-PL" dirty="0"/>
              <a:t>pomiędzy </a:t>
            </a:r>
            <a:r>
              <a:rPr lang="pl-PL" dirty="0" smtClean="0"/>
              <a:t>aktorami, które </a:t>
            </a:r>
            <a:r>
              <a:rPr lang="pl-PL" dirty="0"/>
              <a:t>powodują </a:t>
            </a:r>
            <a:r>
              <a:rPr lang="pl-PL" dirty="0" smtClean="0"/>
              <a:t>powstanie wyniku </a:t>
            </a:r>
            <a:r>
              <a:rPr lang="pl-PL" dirty="0"/>
              <a:t>wartościowego z punktu widzenia </a:t>
            </a:r>
            <a:r>
              <a:rPr lang="pl-PL" dirty="0" smtClean="0"/>
              <a:t>użytkownika</a:t>
            </a:r>
          </a:p>
          <a:p>
            <a:pPr>
              <a:buFont typeface="Arial" panose="020B0604020202020204" pitchFamily="34" charset="0"/>
              <a:buChar char="•"/>
            </a:pPr>
            <a:endParaRPr lang="pl-PL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dirty="0" smtClean="0"/>
              <a:t>Przypadki</a:t>
            </a:r>
            <a:r>
              <a:rPr lang="pl-PL" dirty="0"/>
              <a:t> </a:t>
            </a:r>
            <a:r>
              <a:rPr lang="pl-PL" dirty="0" smtClean="0"/>
              <a:t>użycia </a:t>
            </a:r>
            <a:r>
              <a:rPr lang="pl-PL" dirty="0"/>
              <a:t>zwykle posiadają scenariusz główny </a:t>
            </a:r>
            <a:r>
              <a:rPr lang="pl-PL" dirty="0" smtClean="0"/>
              <a:t>oraz scenariusze poboczne</a:t>
            </a:r>
          </a:p>
          <a:p>
            <a:pPr>
              <a:buFont typeface="Arial" panose="020B0604020202020204" pitchFamily="34" charset="0"/>
              <a:buChar char="•"/>
            </a:pPr>
            <a:endParaRPr lang="pl-PL" dirty="0"/>
          </a:p>
          <a:p>
            <a:pPr>
              <a:buFont typeface="Arial" panose="020B0604020202020204" pitchFamily="34" charset="0"/>
              <a:buChar char="•"/>
            </a:pPr>
            <a:r>
              <a:rPr lang="pl-PL" dirty="0"/>
              <a:t>Przypadki użycia opisują </a:t>
            </a:r>
            <a:r>
              <a:rPr lang="pl-PL" dirty="0" smtClean="0"/>
              <a:t>najbardziej prawdopodobne przypadki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6</a:t>
            </a:fld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298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echniki White-box</a:t>
            </a:r>
            <a:br>
              <a:rPr lang="pl-PL" dirty="0" smtClean="0"/>
            </a:br>
            <a:r>
              <a:rPr lang="pl-PL" sz="2000" dirty="0" smtClean="0"/>
              <a:t>Pokrycie instrukcji</a:t>
            </a: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7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323527" y="1844824"/>
            <a:ext cx="4968553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Font typeface="Arial" panose="020B0604020202020204" pitchFamily="34" charset="0"/>
              <a:buChar char="•"/>
            </a:pPr>
            <a:r>
              <a:rPr lang="pl-PL" dirty="0" smtClean="0"/>
              <a:t>Pokrycie wszystkich instrukcji przynajmniej raz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pl-PL" dirty="0" smtClean="0"/>
              <a:t>Test case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A = 2 and B = 0 (ace)</a:t>
            </a:r>
            <a:endParaRPr lang="pl-PL" dirty="0"/>
          </a:p>
        </p:txBody>
      </p:sp>
      <p:sp>
        <p:nvSpPr>
          <p:cNvPr id="4" name="Rectangle 3"/>
          <p:cNvSpPr/>
          <p:nvPr/>
        </p:nvSpPr>
        <p:spPr bwMode="auto">
          <a:xfrm rot="2700000">
            <a:off x="5481459" y="1098098"/>
            <a:ext cx="914400" cy="914400"/>
          </a:xfrm>
          <a:prstGeom prst="rect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2" name="Straight Arrow Connector 11"/>
          <p:cNvCxnSpPr/>
          <p:nvPr/>
        </p:nvCxnSpPr>
        <p:spPr bwMode="auto">
          <a:xfrm>
            <a:off x="5938659" y="404664"/>
            <a:ext cx="0" cy="504055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Rectangle 13"/>
          <p:cNvSpPr/>
          <p:nvPr/>
        </p:nvSpPr>
        <p:spPr bwMode="auto">
          <a:xfrm rot="2700000">
            <a:off x="5481460" y="3690387"/>
            <a:ext cx="914400" cy="914400"/>
          </a:xfrm>
          <a:prstGeom prst="rect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7020272" y="1988840"/>
            <a:ext cx="1302294" cy="634158"/>
          </a:xfrm>
          <a:prstGeom prst="rect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9" name="Straight Connector 18"/>
          <p:cNvCxnSpPr/>
          <p:nvPr/>
        </p:nvCxnSpPr>
        <p:spPr bwMode="auto">
          <a:xfrm flipH="1">
            <a:off x="6585239" y="1555298"/>
            <a:ext cx="1086180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Arrow Connector 20"/>
          <p:cNvCxnSpPr/>
          <p:nvPr/>
        </p:nvCxnSpPr>
        <p:spPr bwMode="auto">
          <a:xfrm>
            <a:off x="5935448" y="2218778"/>
            <a:ext cx="0" cy="128223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/>
          <p:cNvCxnSpPr/>
          <p:nvPr/>
        </p:nvCxnSpPr>
        <p:spPr bwMode="auto">
          <a:xfrm flipH="1">
            <a:off x="5938660" y="3033631"/>
            <a:ext cx="1732759" cy="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Straight Arrow Connector 24"/>
          <p:cNvCxnSpPr/>
          <p:nvPr/>
        </p:nvCxnSpPr>
        <p:spPr bwMode="auto">
          <a:xfrm>
            <a:off x="7671419" y="1555298"/>
            <a:ext cx="0" cy="433542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Straight Connector 26"/>
          <p:cNvCxnSpPr>
            <a:stCxn id="15" idx="2"/>
          </p:cNvCxnSpPr>
          <p:nvPr/>
        </p:nvCxnSpPr>
        <p:spPr bwMode="auto">
          <a:xfrm>
            <a:off x="7671419" y="2622998"/>
            <a:ext cx="0" cy="410633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Rectangle 30"/>
          <p:cNvSpPr/>
          <p:nvPr/>
        </p:nvSpPr>
        <p:spPr bwMode="auto">
          <a:xfrm>
            <a:off x="7020272" y="4602335"/>
            <a:ext cx="1302294" cy="634158"/>
          </a:xfrm>
          <a:prstGeom prst="rect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32" name="Straight Connector 31"/>
          <p:cNvCxnSpPr/>
          <p:nvPr/>
        </p:nvCxnSpPr>
        <p:spPr bwMode="auto">
          <a:xfrm flipH="1">
            <a:off x="6585239" y="4168793"/>
            <a:ext cx="1086180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Straight Arrow Connector 32"/>
          <p:cNvCxnSpPr/>
          <p:nvPr/>
        </p:nvCxnSpPr>
        <p:spPr bwMode="auto">
          <a:xfrm flipH="1">
            <a:off x="5938660" y="5647126"/>
            <a:ext cx="1732759" cy="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Straight Arrow Connector 33"/>
          <p:cNvCxnSpPr/>
          <p:nvPr/>
        </p:nvCxnSpPr>
        <p:spPr bwMode="auto">
          <a:xfrm>
            <a:off x="7671419" y="4168793"/>
            <a:ext cx="0" cy="433542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Straight Connector 34"/>
          <p:cNvCxnSpPr>
            <a:stCxn id="31" idx="2"/>
          </p:cNvCxnSpPr>
          <p:nvPr/>
        </p:nvCxnSpPr>
        <p:spPr bwMode="auto">
          <a:xfrm>
            <a:off x="7671419" y="5236493"/>
            <a:ext cx="0" cy="410633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Straight Arrow Connector 35"/>
          <p:cNvCxnSpPr/>
          <p:nvPr/>
        </p:nvCxnSpPr>
        <p:spPr bwMode="auto">
          <a:xfrm>
            <a:off x="5950122" y="4794166"/>
            <a:ext cx="0" cy="128223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TextBox 29"/>
          <p:cNvSpPr txBox="1"/>
          <p:nvPr/>
        </p:nvSpPr>
        <p:spPr>
          <a:xfrm>
            <a:off x="5681211" y="1185966"/>
            <a:ext cx="50847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smtClean="0"/>
              <a:t>A&gt;1</a:t>
            </a:r>
            <a:br>
              <a:rPr lang="pl-PL" sz="1400" dirty="0" smtClean="0"/>
            </a:br>
            <a:r>
              <a:rPr lang="pl-PL" sz="1400" dirty="0" smtClean="0"/>
              <a:t>and</a:t>
            </a:r>
            <a:br>
              <a:rPr lang="pl-PL" sz="1400" dirty="0" smtClean="0"/>
            </a:br>
            <a:r>
              <a:rPr lang="pl-PL" sz="1400" dirty="0" smtClean="0"/>
              <a:t>B=0</a:t>
            </a:r>
            <a:endParaRPr lang="pl-PL" sz="1400" dirty="0"/>
          </a:p>
        </p:txBody>
      </p:sp>
      <p:sp>
        <p:nvSpPr>
          <p:cNvPr id="38" name="TextBox 37"/>
          <p:cNvSpPr txBox="1"/>
          <p:nvPr/>
        </p:nvSpPr>
        <p:spPr>
          <a:xfrm>
            <a:off x="5693481" y="3801058"/>
            <a:ext cx="51328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smtClean="0"/>
              <a:t>A=2</a:t>
            </a:r>
            <a:br>
              <a:rPr lang="pl-PL" sz="1400" dirty="0" smtClean="0"/>
            </a:br>
            <a:r>
              <a:rPr lang="pl-PL" sz="1400" dirty="0" smtClean="0"/>
              <a:t>or</a:t>
            </a:r>
            <a:br>
              <a:rPr lang="pl-PL" sz="1400" dirty="0" smtClean="0"/>
            </a:br>
            <a:r>
              <a:rPr lang="pl-PL" sz="1400" dirty="0" smtClean="0"/>
              <a:t>X&gt;1</a:t>
            </a:r>
            <a:endParaRPr lang="pl-PL" sz="1400" dirty="0"/>
          </a:p>
        </p:txBody>
      </p:sp>
      <p:sp>
        <p:nvSpPr>
          <p:cNvPr id="39" name="TextBox 38"/>
          <p:cNvSpPr txBox="1"/>
          <p:nvPr/>
        </p:nvSpPr>
        <p:spPr>
          <a:xfrm>
            <a:off x="7321804" y="2152030"/>
            <a:ext cx="6992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smtClean="0"/>
              <a:t>X=X/A</a:t>
            </a:r>
            <a:endParaRPr lang="pl-PL" sz="1400" dirty="0"/>
          </a:p>
        </p:txBody>
      </p:sp>
      <p:sp>
        <p:nvSpPr>
          <p:cNvPr id="40" name="TextBox 39"/>
          <p:cNvSpPr txBox="1"/>
          <p:nvPr/>
        </p:nvSpPr>
        <p:spPr>
          <a:xfrm>
            <a:off x="7304972" y="4765525"/>
            <a:ext cx="7328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smtClean="0"/>
              <a:t>X=X+1</a:t>
            </a:r>
            <a:endParaRPr lang="pl-PL" sz="1400" dirty="0"/>
          </a:p>
        </p:txBody>
      </p:sp>
      <p:sp>
        <p:nvSpPr>
          <p:cNvPr id="37" name="TextBox 36"/>
          <p:cNvSpPr txBox="1"/>
          <p:nvPr/>
        </p:nvSpPr>
        <p:spPr>
          <a:xfrm>
            <a:off x="6585238" y="4170390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Y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6585238" y="1556792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Y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938660" y="2181696"/>
            <a:ext cx="3513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N</a:t>
            </a:r>
            <a:endParaRPr lang="pl-PL" dirty="0"/>
          </a:p>
        </p:txBody>
      </p:sp>
      <p:sp>
        <p:nvSpPr>
          <p:cNvPr id="44" name="TextBox 43"/>
          <p:cNvSpPr txBox="1"/>
          <p:nvPr/>
        </p:nvSpPr>
        <p:spPr>
          <a:xfrm>
            <a:off x="5950122" y="4794166"/>
            <a:ext cx="3513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868144" y="395372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a</a:t>
            </a:r>
            <a:endParaRPr lang="pl-PL" dirty="0"/>
          </a:p>
        </p:txBody>
      </p:sp>
      <p:sp>
        <p:nvSpPr>
          <p:cNvPr id="45" name="TextBox 44"/>
          <p:cNvSpPr txBox="1"/>
          <p:nvPr/>
        </p:nvSpPr>
        <p:spPr>
          <a:xfrm>
            <a:off x="5699254" y="2555612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b</a:t>
            </a:r>
            <a:endParaRPr lang="pl-PL" dirty="0"/>
          </a:p>
        </p:txBody>
      </p:sp>
      <p:sp>
        <p:nvSpPr>
          <p:cNvPr id="46" name="TextBox 45"/>
          <p:cNvSpPr txBox="1"/>
          <p:nvPr/>
        </p:nvSpPr>
        <p:spPr>
          <a:xfrm>
            <a:off x="7512278" y="1196752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c</a:t>
            </a:r>
            <a:endParaRPr lang="pl-PL" dirty="0"/>
          </a:p>
        </p:txBody>
      </p:sp>
      <p:sp>
        <p:nvSpPr>
          <p:cNvPr id="47" name="TextBox 46"/>
          <p:cNvSpPr txBox="1"/>
          <p:nvPr/>
        </p:nvSpPr>
        <p:spPr>
          <a:xfrm>
            <a:off x="5699254" y="514790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d</a:t>
            </a:r>
            <a:endParaRPr lang="pl-PL" dirty="0"/>
          </a:p>
        </p:txBody>
      </p:sp>
      <p:sp>
        <p:nvSpPr>
          <p:cNvPr id="48" name="TextBox 47"/>
          <p:cNvSpPr txBox="1"/>
          <p:nvPr/>
        </p:nvSpPr>
        <p:spPr>
          <a:xfrm>
            <a:off x="7499454" y="385175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e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452954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echniki White-box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2000" dirty="0" smtClean="0"/>
              <a:t>Pokrycie decyzji</a:t>
            </a:r>
            <a:endParaRPr lang="en-GB" sz="1800" dirty="0">
              <a:latin typeface="+mn-lt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323528" y="1844824"/>
            <a:ext cx="4968552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Font typeface="Arial" panose="020B0604020202020204" pitchFamily="34" charset="0"/>
              <a:buChar char="•"/>
            </a:pPr>
            <a:r>
              <a:rPr lang="pl-PL" dirty="0" smtClean="0"/>
              <a:t>Pokrycie wszystkich decyzji „prawdy” </a:t>
            </a:r>
            <a:br>
              <a:rPr lang="pl-PL" dirty="0" smtClean="0"/>
            </a:br>
            <a:r>
              <a:rPr lang="pl-PL" dirty="0" smtClean="0"/>
              <a:t>i „fałszu” przynajmniej raz</a:t>
            </a:r>
            <a:endParaRPr lang="pl-PL" dirty="0"/>
          </a:p>
          <a:p>
            <a:pPr lvl="0">
              <a:buFont typeface="Arial" panose="020B0604020202020204" pitchFamily="34" charset="0"/>
              <a:buChar char="•"/>
            </a:pPr>
            <a:r>
              <a:rPr lang="pl-PL" dirty="0"/>
              <a:t>Test cases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/>
              <a:t>A = 2 and B = 0 (ace</a:t>
            </a:r>
            <a:r>
              <a:rPr lang="pl-PL" dirty="0" smtClean="0"/>
              <a:t>)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A = 1 and X = 1 (abd)</a:t>
            </a:r>
            <a:endParaRPr lang="pl-PL" dirty="0"/>
          </a:p>
          <a:p>
            <a:pPr lvl="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8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/>
          <p:nvPr/>
        </p:nvSpPr>
        <p:spPr bwMode="auto">
          <a:xfrm rot="2700000">
            <a:off x="5481459" y="1098098"/>
            <a:ext cx="914400" cy="914400"/>
          </a:xfrm>
          <a:prstGeom prst="rect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0" name="Straight Arrow Connector 9"/>
          <p:cNvCxnSpPr/>
          <p:nvPr/>
        </p:nvCxnSpPr>
        <p:spPr bwMode="auto">
          <a:xfrm>
            <a:off x="5938659" y="404664"/>
            <a:ext cx="0" cy="504055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ectangle 10"/>
          <p:cNvSpPr/>
          <p:nvPr/>
        </p:nvSpPr>
        <p:spPr bwMode="auto">
          <a:xfrm rot="2700000">
            <a:off x="5481460" y="3690387"/>
            <a:ext cx="914400" cy="914400"/>
          </a:xfrm>
          <a:prstGeom prst="rect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7020272" y="1988840"/>
            <a:ext cx="1302294" cy="634158"/>
          </a:xfrm>
          <a:prstGeom prst="rect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3" name="Straight Connector 12"/>
          <p:cNvCxnSpPr/>
          <p:nvPr/>
        </p:nvCxnSpPr>
        <p:spPr bwMode="auto">
          <a:xfrm flipH="1">
            <a:off x="6585239" y="1555298"/>
            <a:ext cx="1086180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Straight Arrow Connector 13"/>
          <p:cNvCxnSpPr/>
          <p:nvPr/>
        </p:nvCxnSpPr>
        <p:spPr bwMode="auto">
          <a:xfrm>
            <a:off x="5935448" y="2218778"/>
            <a:ext cx="0" cy="128223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Straight Arrow Connector 14"/>
          <p:cNvCxnSpPr/>
          <p:nvPr/>
        </p:nvCxnSpPr>
        <p:spPr bwMode="auto">
          <a:xfrm flipH="1">
            <a:off x="5938660" y="3033631"/>
            <a:ext cx="1732759" cy="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Straight Arrow Connector 15"/>
          <p:cNvCxnSpPr/>
          <p:nvPr/>
        </p:nvCxnSpPr>
        <p:spPr bwMode="auto">
          <a:xfrm>
            <a:off x="7671419" y="1555298"/>
            <a:ext cx="0" cy="433542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Straight Connector 16"/>
          <p:cNvCxnSpPr>
            <a:stCxn id="12" idx="2"/>
          </p:cNvCxnSpPr>
          <p:nvPr/>
        </p:nvCxnSpPr>
        <p:spPr bwMode="auto">
          <a:xfrm>
            <a:off x="7671419" y="2622998"/>
            <a:ext cx="0" cy="410633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Rectangle 17"/>
          <p:cNvSpPr/>
          <p:nvPr/>
        </p:nvSpPr>
        <p:spPr bwMode="auto">
          <a:xfrm>
            <a:off x="7020272" y="4602335"/>
            <a:ext cx="1302294" cy="634158"/>
          </a:xfrm>
          <a:prstGeom prst="rect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l-PL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cxnSp>
        <p:nvCxnSpPr>
          <p:cNvPr id="19" name="Straight Connector 18"/>
          <p:cNvCxnSpPr/>
          <p:nvPr/>
        </p:nvCxnSpPr>
        <p:spPr bwMode="auto">
          <a:xfrm flipH="1">
            <a:off x="6585239" y="4168793"/>
            <a:ext cx="1086180" cy="0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Straight Arrow Connector 19"/>
          <p:cNvCxnSpPr/>
          <p:nvPr/>
        </p:nvCxnSpPr>
        <p:spPr bwMode="auto">
          <a:xfrm flipH="1">
            <a:off x="5938660" y="5647126"/>
            <a:ext cx="1732759" cy="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Arrow Connector 20"/>
          <p:cNvCxnSpPr/>
          <p:nvPr/>
        </p:nvCxnSpPr>
        <p:spPr bwMode="auto">
          <a:xfrm>
            <a:off x="7671419" y="4168793"/>
            <a:ext cx="0" cy="433542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Straight Connector 21"/>
          <p:cNvCxnSpPr>
            <a:stCxn id="18" idx="2"/>
          </p:cNvCxnSpPr>
          <p:nvPr/>
        </p:nvCxnSpPr>
        <p:spPr bwMode="auto">
          <a:xfrm>
            <a:off x="7671419" y="5236493"/>
            <a:ext cx="0" cy="410633"/>
          </a:xfrm>
          <a:prstGeom prst="line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/>
          <p:cNvCxnSpPr/>
          <p:nvPr/>
        </p:nvCxnSpPr>
        <p:spPr bwMode="auto">
          <a:xfrm>
            <a:off x="5950122" y="4794166"/>
            <a:ext cx="0" cy="1282230"/>
          </a:xfrm>
          <a:prstGeom prst="straightConnector1">
            <a:avLst/>
          </a:prstGeom>
          <a:solidFill>
            <a:schemeClr val="accent1"/>
          </a:solidFill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TextBox 23"/>
          <p:cNvSpPr txBox="1"/>
          <p:nvPr/>
        </p:nvSpPr>
        <p:spPr>
          <a:xfrm>
            <a:off x="5681211" y="1185966"/>
            <a:ext cx="50847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smtClean="0"/>
              <a:t>A&gt;1</a:t>
            </a:r>
            <a:br>
              <a:rPr lang="pl-PL" sz="1400" dirty="0" smtClean="0"/>
            </a:br>
            <a:r>
              <a:rPr lang="pl-PL" sz="1400" dirty="0" smtClean="0"/>
              <a:t>and</a:t>
            </a:r>
            <a:br>
              <a:rPr lang="pl-PL" sz="1400" dirty="0" smtClean="0"/>
            </a:br>
            <a:r>
              <a:rPr lang="pl-PL" sz="1400" dirty="0" smtClean="0"/>
              <a:t>B=0</a:t>
            </a:r>
            <a:endParaRPr lang="pl-PL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5693481" y="3801058"/>
            <a:ext cx="513282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smtClean="0"/>
              <a:t>A=2</a:t>
            </a:r>
            <a:br>
              <a:rPr lang="pl-PL" sz="1400" dirty="0" smtClean="0"/>
            </a:br>
            <a:r>
              <a:rPr lang="pl-PL" sz="1400" dirty="0" smtClean="0"/>
              <a:t>or</a:t>
            </a:r>
            <a:br>
              <a:rPr lang="pl-PL" sz="1400" dirty="0" smtClean="0"/>
            </a:br>
            <a:r>
              <a:rPr lang="pl-PL" sz="1400" dirty="0" smtClean="0"/>
              <a:t>X&gt;1</a:t>
            </a:r>
            <a:endParaRPr lang="pl-PL" sz="1400" dirty="0"/>
          </a:p>
        </p:txBody>
      </p:sp>
      <p:sp>
        <p:nvSpPr>
          <p:cNvPr id="26" name="TextBox 25"/>
          <p:cNvSpPr txBox="1"/>
          <p:nvPr/>
        </p:nvSpPr>
        <p:spPr>
          <a:xfrm>
            <a:off x="7321804" y="2152030"/>
            <a:ext cx="6992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smtClean="0"/>
              <a:t>X=X/A</a:t>
            </a:r>
            <a:endParaRPr lang="pl-PL" sz="1400" dirty="0"/>
          </a:p>
        </p:txBody>
      </p:sp>
      <p:sp>
        <p:nvSpPr>
          <p:cNvPr id="27" name="TextBox 26"/>
          <p:cNvSpPr txBox="1"/>
          <p:nvPr/>
        </p:nvSpPr>
        <p:spPr>
          <a:xfrm>
            <a:off x="7304972" y="4765525"/>
            <a:ext cx="7328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sz="1400" dirty="0" smtClean="0"/>
              <a:t>X=X+1</a:t>
            </a:r>
            <a:endParaRPr lang="pl-PL" sz="1400" dirty="0"/>
          </a:p>
        </p:txBody>
      </p:sp>
      <p:sp>
        <p:nvSpPr>
          <p:cNvPr id="28" name="TextBox 27"/>
          <p:cNvSpPr txBox="1"/>
          <p:nvPr/>
        </p:nvSpPr>
        <p:spPr>
          <a:xfrm>
            <a:off x="6585238" y="4170390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Y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585238" y="1556792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Y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938660" y="2181696"/>
            <a:ext cx="3513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N</a:t>
            </a:r>
            <a:endParaRPr lang="pl-PL" dirty="0"/>
          </a:p>
        </p:txBody>
      </p:sp>
      <p:sp>
        <p:nvSpPr>
          <p:cNvPr id="31" name="TextBox 30"/>
          <p:cNvSpPr txBox="1"/>
          <p:nvPr/>
        </p:nvSpPr>
        <p:spPr>
          <a:xfrm>
            <a:off x="5950122" y="4794166"/>
            <a:ext cx="35137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/>
              <a:t>N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868144" y="395372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a</a:t>
            </a:r>
            <a:endParaRPr lang="pl-PL" dirty="0"/>
          </a:p>
        </p:txBody>
      </p:sp>
      <p:sp>
        <p:nvSpPr>
          <p:cNvPr id="33" name="TextBox 32"/>
          <p:cNvSpPr txBox="1"/>
          <p:nvPr/>
        </p:nvSpPr>
        <p:spPr>
          <a:xfrm>
            <a:off x="5699254" y="2555612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b</a:t>
            </a:r>
            <a:endParaRPr lang="pl-PL" dirty="0"/>
          </a:p>
        </p:txBody>
      </p:sp>
      <p:sp>
        <p:nvSpPr>
          <p:cNvPr id="34" name="TextBox 33"/>
          <p:cNvSpPr txBox="1"/>
          <p:nvPr/>
        </p:nvSpPr>
        <p:spPr>
          <a:xfrm>
            <a:off x="7512278" y="1196752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c</a:t>
            </a:r>
            <a:endParaRPr lang="pl-PL" dirty="0"/>
          </a:p>
        </p:txBody>
      </p:sp>
      <p:sp>
        <p:nvSpPr>
          <p:cNvPr id="35" name="TextBox 34"/>
          <p:cNvSpPr txBox="1"/>
          <p:nvPr/>
        </p:nvSpPr>
        <p:spPr>
          <a:xfrm>
            <a:off x="5699254" y="5147900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d</a:t>
            </a:r>
            <a:endParaRPr lang="pl-PL" dirty="0"/>
          </a:p>
        </p:txBody>
      </p:sp>
      <p:sp>
        <p:nvSpPr>
          <p:cNvPr id="36" name="TextBox 35"/>
          <p:cNvSpPr txBox="1"/>
          <p:nvPr/>
        </p:nvSpPr>
        <p:spPr>
          <a:xfrm>
            <a:off x="7499454" y="3851756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l-PL" dirty="0" smtClean="0"/>
              <a:t>e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0973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Agenda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39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Volvo Group </a:t>
            </a:r>
            <a:r>
              <a:rPr lang="pl-PL" kern="0" dirty="0"/>
              <a:t>i</a:t>
            </a:r>
            <a:r>
              <a:rPr lang="pl-PL" kern="0" dirty="0" smtClean="0"/>
              <a:t> Volvo 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Proces i cykle testow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Techniki testowe</a:t>
            </a:r>
            <a:endParaRPr lang="en-US" kern="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b="1" kern="0" dirty="0" smtClean="0"/>
              <a:t>Strategia i struktura testó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Planowanie i organizacj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Metryki i narzędzia testowe</a:t>
            </a:r>
          </a:p>
        </p:txBody>
      </p:sp>
      <p:pic>
        <p:nvPicPr>
          <p:cNvPr id="13" name="Picture 6" descr="C:\Users\bpl4027\AppData\Local\Temp\SNAGHTMLac614a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3938240"/>
            <a:ext cx="5191944" cy="2044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409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1A48B6B9-208B-4632-BEF9-204970A2537F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30" name="Picture 29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9144000" cy="6142038"/>
          </a:xfrm>
          <a:prstGeom prst="rect">
            <a:avLst/>
          </a:prstGeom>
        </p:spPr>
      </p:pic>
      <p:sp>
        <p:nvSpPr>
          <p:cNvPr id="31" name="Title 5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19088" y="441325"/>
            <a:ext cx="8410575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l-PL" smtClean="0"/>
              <a:t>Organizacja Grupy Volvo</a:t>
            </a:r>
            <a:endParaRPr lang="pl-PL" dirty="0"/>
          </a:p>
        </p:txBody>
      </p:sp>
      <p:grpSp>
        <p:nvGrpSpPr>
          <p:cNvPr id="32" name="Group 31"/>
          <p:cNvGrpSpPr/>
          <p:nvPr/>
        </p:nvGrpSpPr>
        <p:grpSpPr>
          <a:xfrm>
            <a:off x="1957221" y="3719559"/>
            <a:ext cx="5215956" cy="970167"/>
            <a:chOff x="1968240" y="3719559"/>
            <a:chExt cx="5215956" cy="970167"/>
          </a:xfrm>
        </p:grpSpPr>
        <p:sp>
          <p:nvSpPr>
            <p:cNvPr id="33" name="Rectangle 32"/>
            <p:cNvSpPr/>
            <p:nvPr>
              <p:custDataLst>
                <p:tags r:id="rId11"/>
              </p:custDataLst>
            </p:nvPr>
          </p:nvSpPr>
          <p:spPr>
            <a:xfrm>
              <a:off x="1968240" y="3719559"/>
              <a:ext cx="1626666" cy="970167"/>
            </a:xfrm>
            <a:prstGeom prst="rect">
              <a:avLst/>
            </a:prstGeom>
            <a:solidFill>
              <a:schemeClr val="tx2"/>
            </a:solidFill>
            <a:ln w="19050"/>
            <a:effectLst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 smtClean="0">
                  <a:solidFill>
                    <a:schemeClr val="bg1"/>
                  </a:solidFill>
                </a:rPr>
                <a:t>Construction Equipment</a:t>
              </a:r>
              <a:endParaRPr lang="sv-SE" sz="140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/>
            <p:cNvSpPr/>
            <p:nvPr>
              <p:custDataLst>
                <p:tags r:id="rId12"/>
              </p:custDataLst>
            </p:nvPr>
          </p:nvSpPr>
          <p:spPr>
            <a:xfrm>
              <a:off x="5557530" y="3719559"/>
              <a:ext cx="1626666" cy="970167"/>
            </a:xfrm>
            <a:prstGeom prst="rect">
              <a:avLst/>
            </a:prstGeom>
            <a:solidFill>
              <a:schemeClr val="tx2"/>
            </a:solidFill>
            <a:ln w="19050"/>
            <a:effectLst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 smtClean="0">
                  <a:solidFill>
                    <a:schemeClr val="bg1"/>
                  </a:solidFill>
                </a:rPr>
                <a:t>Volvo Financial Services</a:t>
              </a:r>
              <a:endParaRPr lang="sv-SE" sz="14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34"/>
            <p:cNvSpPr/>
            <p:nvPr>
              <p:custDataLst>
                <p:tags r:id="rId13"/>
              </p:custDataLst>
            </p:nvPr>
          </p:nvSpPr>
          <p:spPr>
            <a:xfrm>
              <a:off x="3762885" y="3719559"/>
              <a:ext cx="1626666" cy="970167"/>
            </a:xfrm>
            <a:prstGeom prst="rect">
              <a:avLst/>
            </a:prstGeom>
            <a:solidFill>
              <a:schemeClr val="tx2"/>
            </a:solidFill>
            <a:ln w="19050"/>
            <a:effectLst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sv-SE" sz="1400" b="1" dirty="0" smtClean="0">
                  <a:solidFill>
                    <a:schemeClr val="bg1"/>
                  </a:solidFill>
                </a:rPr>
                <a:t>Business </a:t>
              </a:r>
              <a:br>
                <a:rPr lang="sv-SE" sz="1400" b="1" dirty="0" smtClean="0">
                  <a:solidFill>
                    <a:schemeClr val="bg1"/>
                  </a:solidFill>
                </a:rPr>
              </a:br>
              <a:r>
                <a:rPr lang="sv-SE" sz="1400" b="1" dirty="0" smtClean="0">
                  <a:solidFill>
                    <a:schemeClr val="bg1"/>
                  </a:solidFill>
                </a:rPr>
                <a:t>Areas</a:t>
              </a:r>
              <a:endParaRPr lang="sv-SE" sz="1400" dirty="0">
                <a:solidFill>
                  <a:schemeClr val="bg1"/>
                </a:solidFill>
              </a:endParaRPr>
            </a:p>
          </p:txBody>
        </p:sp>
      </p:grpSp>
      <p:sp>
        <p:nvSpPr>
          <p:cNvPr id="36" name="Rectangle 35"/>
          <p:cNvSpPr/>
          <p:nvPr>
            <p:custDataLst>
              <p:tags r:id="rId3"/>
            </p:custDataLst>
          </p:nvPr>
        </p:nvSpPr>
        <p:spPr>
          <a:xfrm>
            <a:off x="289784" y="2405109"/>
            <a:ext cx="2736000" cy="970167"/>
          </a:xfrm>
          <a:prstGeom prst="rect">
            <a:avLst/>
          </a:prstGeom>
          <a:solidFill>
            <a:schemeClr val="tx2"/>
          </a:solidFill>
          <a:ln w="19050"/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bg1"/>
                </a:solidFill>
              </a:rPr>
              <a:t>Group Trucks </a:t>
            </a:r>
            <a:r>
              <a:rPr lang="en-US" sz="1400" b="1" dirty="0" smtClean="0">
                <a:solidFill>
                  <a:schemeClr val="bg1"/>
                </a:solidFill>
              </a:rPr>
              <a:t>Sales 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37" name="Rectangle 36"/>
          <p:cNvSpPr/>
          <p:nvPr>
            <p:custDataLst>
              <p:tags r:id="rId4"/>
            </p:custDataLst>
          </p:nvPr>
        </p:nvSpPr>
        <p:spPr>
          <a:xfrm>
            <a:off x="3197200" y="2405109"/>
            <a:ext cx="2736000" cy="970167"/>
          </a:xfrm>
          <a:prstGeom prst="rect">
            <a:avLst/>
          </a:prstGeom>
          <a:solidFill>
            <a:schemeClr val="tx2"/>
          </a:solidFill>
          <a:ln w="19050"/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bg1"/>
                </a:solidFill>
              </a:rPr>
              <a:t>Group Trucks </a:t>
            </a:r>
            <a:r>
              <a:rPr lang="sv-SE" sz="1400" b="1" dirty="0" smtClean="0">
                <a:solidFill>
                  <a:schemeClr val="bg1"/>
                </a:solidFill>
              </a:rPr>
              <a:t>Operations</a:t>
            </a:r>
            <a:endParaRPr lang="sv-SE" sz="1400" dirty="0">
              <a:solidFill>
                <a:schemeClr val="bg1"/>
              </a:solidFill>
            </a:endParaRPr>
          </a:p>
        </p:txBody>
      </p:sp>
      <p:sp>
        <p:nvSpPr>
          <p:cNvPr id="38" name="Rectangle 37"/>
          <p:cNvSpPr/>
          <p:nvPr>
            <p:custDataLst>
              <p:tags r:id="rId5"/>
            </p:custDataLst>
          </p:nvPr>
        </p:nvSpPr>
        <p:spPr>
          <a:xfrm>
            <a:off x="6104615" y="2405109"/>
            <a:ext cx="2736000" cy="970167"/>
          </a:xfrm>
          <a:prstGeom prst="rect">
            <a:avLst/>
          </a:prstGeom>
          <a:solidFill>
            <a:schemeClr val="tx2"/>
          </a:solidFill>
          <a:ln w="19050"/>
          <a:effectLst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b="1" dirty="0">
                <a:solidFill>
                  <a:schemeClr val="bg1"/>
                </a:solidFill>
              </a:rPr>
              <a:t>Group Trucks </a:t>
            </a:r>
            <a:r>
              <a:rPr lang="sv-SE" sz="1400" b="1" dirty="0" smtClean="0">
                <a:solidFill>
                  <a:schemeClr val="bg1"/>
                </a:solidFill>
              </a:rPr>
              <a:t>Technology</a:t>
            </a:r>
            <a:endParaRPr lang="sv-SE" sz="1400" dirty="0">
              <a:solidFill>
                <a:schemeClr val="bg1"/>
              </a:solidFill>
            </a:endParaRPr>
          </a:p>
        </p:txBody>
      </p:sp>
      <p:pic>
        <p:nvPicPr>
          <p:cNvPr id="39" name="Bildobjekt 95" descr="penta.gif"/>
          <p:cNvPicPr>
            <a:picLocks noChangeAspect="1"/>
          </p:cNvPicPr>
          <p:nvPr/>
        </p:nvPicPr>
        <p:blipFill>
          <a:blip r:embed="rId17" cstate="email"/>
          <a:stretch>
            <a:fillRect/>
          </a:stretch>
        </p:blipFill>
        <p:spPr>
          <a:xfrm flipH="1">
            <a:off x="4937853" y="4518904"/>
            <a:ext cx="615544" cy="630837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5126" y="4094924"/>
            <a:ext cx="1094633" cy="931448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1876" y="4332372"/>
            <a:ext cx="1495977" cy="817369"/>
          </a:xfrm>
          <a:prstGeom prst="rect">
            <a:avLst/>
          </a:prstGeom>
        </p:spPr>
      </p:pic>
      <p:grpSp>
        <p:nvGrpSpPr>
          <p:cNvPr id="42" name="Group 41"/>
          <p:cNvGrpSpPr/>
          <p:nvPr/>
        </p:nvGrpSpPr>
        <p:grpSpPr>
          <a:xfrm>
            <a:off x="1657784" y="2164114"/>
            <a:ext cx="5821181" cy="248547"/>
            <a:chOff x="1657784" y="2164114"/>
            <a:chExt cx="5821181" cy="248547"/>
          </a:xfrm>
        </p:grpSpPr>
        <p:cxnSp>
          <p:nvCxnSpPr>
            <p:cNvPr id="43" name="Straight Connector 42"/>
            <p:cNvCxnSpPr/>
            <p:nvPr/>
          </p:nvCxnSpPr>
          <p:spPr>
            <a:xfrm>
              <a:off x="1657784" y="2164114"/>
              <a:ext cx="5821181" cy="0"/>
            </a:xfrm>
            <a:prstGeom prst="line">
              <a:avLst/>
            </a:prstGeom>
            <a:ln w="1905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>
              <a:off x="4565199" y="2164114"/>
              <a:ext cx="1" cy="248547"/>
            </a:xfrm>
            <a:prstGeom prst="line">
              <a:avLst/>
            </a:prstGeom>
            <a:ln w="1905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flipH="1">
              <a:off x="7465058" y="2164114"/>
              <a:ext cx="6350" cy="233438"/>
            </a:xfrm>
            <a:prstGeom prst="line">
              <a:avLst/>
            </a:prstGeom>
            <a:ln w="1905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1665340" y="2164114"/>
              <a:ext cx="1" cy="248547"/>
            </a:xfrm>
            <a:prstGeom prst="line">
              <a:avLst/>
            </a:prstGeom>
            <a:ln w="1905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/>
          <p:cNvGrpSpPr/>
          <p:nvPr/>
        </p:nvGrpSpPr>
        <p:grpSpPr>
          <a:xfrm>
            <a:off x="-3939" y="1653976"/>
            <a:ext cx="3274486" cy="1020276"/>
            <a:chOff x="109416" y="717944"/>
            <a:chExt cx="3274486" cy="1020276"/>
          </a:xfrm>
        </p:grpSpPr>
        <p:pic>
          <p:nvPicPr>
            <p:cNvPr id="48" name="Picture 47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33621" y="792462"/>
              <a:ext cx="868863" cy="841022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9482" y="791821"/>
              <a:ext cx="873952" cy="758590"/>
            </a:xfrm>
            <a:prstGeom prst="rect">
              <a:avLst/>
            </a:prstGeom>
          </p:spPr>
        </p:pic>
        <p:pic>
          <p:nvPicPr>
            <p:cNvPr id="50" name="Picture 49"/>
            <p:cNvPicPr>
              <a:picLocks noChangeAspect="1"/>
            </p:cNvPicPr>
            <p:nvPr>
              <p:custDataLst>
                <p:tags r:id="rId8"/>
              </p:custDataLst>
            </p:nvPr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80912" y="890693"/>
              <a:ext cx="969073" cy="750348"/>
            </a:xfrm>
            <a:prstGeom prst="rect">
              <a:avLst/>
            </a:prstGeom>
          </p:spPr>
        </p:pic>
        <p:pic>
          <p:nvPicPr>
            <p:cNvPr id="51" name="Picture 50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416" y="717944"/>
              <a:ext cx="1137213" cy="1020276"/>
            </a:xfrm>
            <a:prstGeom prst="rect">
              <a:avLst/>
            </a:prstGeom>
          </p:spPr>
        </p:pic>
        <p:pic>
          <p:nvPicPr>
            <p:cNvPr id="52" name="Picture 51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70952" y="934952"/>
              <a:ext cx="1212950" cy="798121"/>
            </a:xfrm>
            <a:prstGeom prst="rect">
              <a:avLst/>
            </a:prstGeom>
          </p:spPr>
        </p:pic>
      </p:grpSp>
      <p:pic>
        <p:nvPicPr>
          <p:cNvPr id="53" name="Picture 7" descr="VO-Finansiell service mindre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97" t="5914" b="2689"/>
          <a:stretch>
            <a:fillRect/>
          </a:stretch>
        </p:blipFill>
        <p:spPr bwMode="auto">
          <a:xfrm>
            <a:off x="6774199" y="4223784"/>
            <a:ext cx="909713" cy="910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3"/>
          <p:cNvPicPr>
            <a:picLocks noChangeAspect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712" r="9317"/>
          <a:stretch/>
        </p:blipFill>
        <p:spPr>
          <a:xfrm>
            <a:off x="3951525" y="1760982"/>
            <a:ext cx="1231036" cy="912631"/>
          </a:xfrm>
          <a:prstGeom prst="rect">
            <a:avLst/>
          </a:prstGeom>
        </p:spPr>
      </p:pic>
      <p:pic>
        <p:nvPicPr>
          <p:cNvPr id="55" name="Picture Placeholder 8"/>
          <p:cNvPicPr>
            <a:picLocks noChangeAspect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2899" y="1751948"/>
            <a:ext cx="1408714" cy="905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2549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bpld362\AppData\Local\Microsoft\Windows\Temporary Internet Files\Content.IE5\Z7SESWQY\strategy[1]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3526017"/>
            <a:ext cx="3443874" cy="2582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rategia testowa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40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dirty="0" smtClean="0"/>
              <a:t>Opisuje ogólne podejście organizacji do testów</a:t>
            </a:r>
          </a:p>
          <a:p>
            <a:endParaRPr lang="pl-PL" dirty="0" smtClean="0"/>
          </a:p>
          <a:p>
            <a:r>
              <a:rPr lang="pl-PL" dirty="0" smtClean="0"/>
              <a:t>Zawiera informacje na temat zarządzania ryzykiem, podział na poziomy testów i czynności związane z testowaniem</a:t>
            </a:r>
          </a:p>
          <a:p>
            <a:endParaRPr lang="pl-PL" dirty="0" smtClean="0"/>
          </a:p>
          <a:p>
            <a:r>
              <a:rPr lang="pl-PL" dirty="0" smtClean="0"/>
              <a:t>Powinna zawierać kryteria rozpoczęcia i zakończenia testów.</a:t>
            </a:r>
            <a:endParaRPr lang="pl-PL" kern="0" dirty="0" smtClean="0"/>
          </a:p>
        </p:txBody>
      </p:sp>
    </p:spTree>
    <p:extLst>
      <p:ext uri="{BB962C8B-B14F-4D97-AF65-F5344CB8AC3E}">
        <p14:creationId xmlns:p14="http://schemas.microsoft.com/office/powerpoint/2010/main" val="3599817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Typy strategii testowych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41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2" y="908720"/>
            <a:ext cx="8066161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rategie analityczne</a:t>
            </a:r>
          </a:p>
          <a:p>
            <a:r>
              <a:rPr lang="pl-PL" kern="0" dirty="0" smtClean="0"/>
              <a:t>Zespół testowy opiera przypadki testowe na przykład o wymagania</a:t>
            </a:r>
          </a:p>
          <a:p>
            <a:endParaRPr lang="pl-PL" kern="0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920" y="1916832"/>
            <a:ext cx="8531132" cy="413226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920" y="3679887"/>
            <a:ext cx="7058018" cy="23692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650908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ypy strategii testowych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42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299606" y="1019646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rategie analityczne</a:t>
            </a:r>
            <a:endParaRPr lang="pl-PL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l-PL" kern="0" dirty="0" smtClean="0"/>
              <a:t>Mapa wymagań źródłem przypadków testowych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50" y="2204864"/>
            <a:ext cx="9086850" cy="3762375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045493"/>
            <a:ext cx="9125288" cy="15793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542470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Typy strategii testowych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43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13537" y="908720"/>
            <a:ext cx="7772400" cy="1452265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rategie metodyczne</a:t>
            </a:r>
            <a:endParaRPr lang="pl-PL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l-PL" kern="0" dirty="0" smtClean="0"/>
              <a:t>Zespół testowy używa predefiniowanych warunków testowych – na przykład listy warunków testowych do przeprowadzenia smoke testu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984" y="2360985"/>
            <a:ext cx="8820472" cy="37445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604" y="2728118"/>
            <a:ext cx="7837408" cy="27891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10735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088" y="441325"/>
            <a:ext cx="8397875" cy="683419"/>
          </a:xfrm>
        </p:spPr>
        <p:txBody>
          <a:bodyPr/>
          <a:lstStyle/>
          <a:p>
            <a:r>
              <a:rPr lang="pl-PL" dirty="0"/>
              <a:t>Typy strategii testowych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44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ne typy strategii</a:t>
            </a:r>
            <a:endParaRPr lang="pl-PL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l-PL" kern="0" dirty="0" smtClean="0"/>
              <a:t>Strategie na podstawie modelu</a:t>
            </a:r>
          </a:p>
          <a:p>
            <a:r>
              <a:rPr lang="pl-PL" kern="0" dirty="0" smtClean="0"/>
              <a:t>Strategie zgodne z procesem lub standardem</a:t>
            </a:r>
            <a:endParaRPr lang="pl-PL" kern="0" dirty="0"/>
          </a:p>
          <a:p>
            <a:r>
              <a:rPr lang="pl-PL" kern="0" dirty="0" smtClean="0"/>
              <a:t>Strategie konsultatywne</a:t>
            </a:r>
            <a:endParaRPr lang="pl-PL" kern="0" dirty="0"/>
          </a:p>
          <a:p>
            <a:r>
              <a:rPr lang="pl-PL" kern="0" dirty="0" smtClean="0"/>
              <a:t>Strategie testów regresywnych</a:t>
            </a:r>
          </a:p>
          <a:p>
            <a:endParaRPr lang="pl-PL" kern="0" dirty="0"/>
          </a:p>
          <a:p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Zwykle używanych jest kilka strategii testowych</a:t>
            </a:r>
            <a:endParaRPr lang="pl-PL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9218" name="Picture 2" descr="C:\Users\bpld362\AppData\Local\Microsoft\Windows\Temporary Internet Files\Content.IE5\QNAZVMQD\chess-strategy-300x196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152" y="1700808"/>
            <a:ext cx="2857500" cy="186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17149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bpld362\AppData\Local\Microsoft\Windows\Temporary Internet Files\Content.IE5\Z7SESWQY\Talent-identification-300x199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6016" y="2996952"/>
            <a:ext cx="2857500" cy="1895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ruktura testów – typy testów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45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>
          <a:xfrm>
            <a:off x="588963" y="6597352"/>
            <a:ext cx="5016099" cy="230486"/>
          </a:xfrm>
        </p:spPr>
        <p:txBody>
          <a:bodyPr/>
          <a:lstStyle/>
          <a:p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6426" y="1124743"/>
            <a:ext cx="7772400" cy="4980781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pl-PL" b="1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y Funkcjonalne</a:t>
            </a:r>
          </a:p>
          <a:p>
            <a:pPr marL="0" indent="0">
              <a:buNone/>
            </a:pPr>
            <a:endParaRPr lang="pl-PL" b="1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l-PL" kern="0" dirty="0" smtClean="0"/>
              <a:t>Testowanie „co” robi system (testy czarnoskrzynkowe)</a:t>
            </a:r>
          </a:p>
          <a:p>
            <a:endParaRPr lang="pl-PL" kern="0" dirty="0" smtClean="0"/>
          </a:p>
          <a:p>
            <a:pPr marL="0" indent="0">
              <a:buNone/>
            </a:pPr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y Niefunkcjonalne</a:t>
            </a:r>
          </a:p>
          <a:p>
            <a:pPr marL="0" indent="0">
              <a:buNone/>
            </a:pPr>
            <a:endParaRPr lang="pl-PL" b="1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l-PL" kern="0" dirty="0" smtClean="0"/>
              <a:t>Testowanie „jak” działa system</a:t>
            </a:r>
          </a:p>
          <a:p>
            <a:r>
              <a:rPr lang="pl-PL" kern="0" dirty="0" smtClean="0"/>
              <a:t>Usability, Portability, Security, Load, Performance Testing</a:t>
            </a:r>
          </a:p>
          <a:p>
            <a:endParaRPr lang="pl-PL" kern="0" dirty="0" smtClean="0"/>
          </a:p>
        </p:txBody>
      </p:sp>
    </p:spTree>
    <p:extLst>
      <p:ext uri="{BB962C8B-B14F-4D97-AF65-F5344CB8AC3E}">
        <p14:creationId xmlns:p14="http://schemas.microsoft.com/office/powerpoint/2010/main" val="41159556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bpld362\AppData\Local\Microsoft\Windows\Temporary Internet Files\Content.IE5\D8IV0I1S\01712_disruption[1]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8917" y="1155997"/>
            <a:ext cx="3917235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ruktura testów – typy testów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46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27" name="Date Placeholder 3"/>
          <p:cNvSpPr>
            <a:spLocks noGrp="1"/>
          </p:cNvSpPr>
          <p:nvPr>
            <p:ph type="dt" sz="half" idx="2"/>
          </p:nvPr>
        </p:nvSpPr>
        <p:spPr>
          <a:xfrm>
            <a:off x="588963" y="6597352"/>
            <a:ext cx="5016099" cy="230486"/>
          </a:xfrm>
        </p:spPr>
        <p:txBody>
          <a:bodyPr/>
          <a:lstStyle/>
          <a:p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6426" y="1124743"/>
            <a:ext cx="7772400" cy="4980781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endParaRPr lang="pl-PL" b="1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y Strukturalne</a:t>
            </a:r>
          </a:p>
          <a:p>
            <a:pPr marL="0" indent="0">
              <a:buNone/>
            </a:pPr>
            <a:endParaRPr lang="pl-PL" b="1" kern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l-PL" kern="0" dirty="0" smtClean="0"/>
              <a:t>Testowanie architektury/struktury systemu (białoskrzynkowe)</a:t>
            </a:r>
          </a:p>
          <a:p>
            <a:r>
              <a:rPr lang="pl-PL" dirty="0" smtClean="0"/>
              <a:t>Testowanie tego, co dzieje się wewnątrz systemu</a:t>
            </a:r>
          </a:p>
          <a:p>
            <a:endParaRPr lang="pl-PL" kern="0" dirty="0" smtClean="0"/>
          </a:p>
          <a:p>
            <a:pPr marL="0" indent="0">
              <a:buNone/>
            </a:pPr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sty związane ze zmianami (Testowanie Potwierdzające)</a:t>
            </a:r>
          </a:p>
          <a:p>
            <a:pPr marL="0" indent="0">
              <a:buNone/>
            </a:pPr>
            <a:endParaRPr lang="pl-PL" b="1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l-PL" kern="0" dirty="0" smtClean="0"/>
              <a:t>Retestowanie </a:t>
            </a:r>
            <a:r>
              <a:rPr lang="pl-PL" kern="0" dirty="0"/>
              <a:t>– </a:t>
            </a:r>
            <a:r>
              <a:rPr lang="pl-PL" kern="0" dirty="0" smtClean="0"/>
              <a:t>testowanie po wykryciu i naprawie defektu</a:t>
            </a:r>
            <a:endParaRPr lang="pl-PL" kern="0" dirty="0"/>
          </a:p>
          <a:p>
            <a:r>
              <a:rPr lang="pl-PL" kern="0" dirty="0" smtClean="0"/>
              <a:t>Testowanie regresyjne – </a:t>
            </a:r>
            <a:r>
              <a:rPr lang="pl-PL" dirty="0" smtClean="0"/>
              <a:t>weryfikacja, czy wprowadzone modyfikacje nie mają skutków ubocznych</a:t>
            </a:r>
            <a:endParaRPr lang="pl-PL" kern="0" dirty="0"/>
          </a:p>
          <a:p>
            <a:endParaRPr lang="pl-PL" kern="0" dirty="0" smtClean="0"/>
          </a:p>
        </p:txBody>
      </p:sp>
    </p:spTree>
    <p:extLst>
      <p:ext uri="{BB962C8B-B14F-4D97-AF65-F5344CB8AC3E}">
        <p14:creationId xmlns:p14="http://schemas.microsoft.com/office/powerpoint/2010/main" val="34500620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Struktura testów – poziomy testó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47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kern="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1516720"/>
            <a:ext cx="5460032" cy="4040233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4208463" y="1700808"/>
            <a:ext cx="1299642" cy="41669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1600" dirty="0" smtClean="0">
                <a:latin typeface="Arial" charset="0"/>
              </a:rPr>
              <a:t>Developers</a:t>
            </a:r>
            <a:endParaRPr kumimoji="0" lang="en-GB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3956484" y="2632844"/>
            <a:ext cx="2094100" cy="423912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</a:pPr>
            <a:r>
              <a:rPr lang="pl-PL" sz="1600" dirty="0" smtClean="0">
                <a:latin typeface="Arial" charset="0"/>
              </a:rPr>
              <a:t>Developers or </a:t>
            </a:r>
            <a:r>
              <a:rPr lang="pl-PL" sz="1600" dirty="0">
                <a:latin typeface="Arial" charset="0"/>
              </a:rPr>
              <a:t>testers</a:t>
            </a:r>
            <a:endParaRPr lang="en-GB" sz="1600" dirty="0">
              <a:latin typeface="Arial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4831665" y="3680619"/>
            <a:ext cx="937852" cy="41669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1600" dirty="0">
                <a:latin typeface="Arial" charset="0"/>
              </a:rPr>
              <a:t>Testers</a:t>
            </a:r>
            <a:endParaRPr lang="en-GB" sz="1600" dirty="0">
              <a:latin typeface="Arial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003534" y="4589839"/>
            <a:ext cx="1008113" cy="416694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1600" dirty="0">
                <a:latin typeface="Arial" charset="0"/>
              </a:rPr>
              <a:t>Business</a:t>
            </a:r>
            <a:endParaRPr lang="en-GB" sz="160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8696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2" grpId="0" animBg="1"/>
      <p:bldP spid="13" grpId="0" animBg="1"/>
      <p:bldP spid="14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Agenda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48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Volvo Group </a:t>
            </a:r>
            <a:r>
              <a:rPr lang="pl-PL" kern="0" dirty="0"/>
              <a:t>i</a:t>
            </a:r>
            <a:r>
              <a:rPr lang="pl-PL" kern="0" dirty="0" smtClean="0"/>
              <a:t> Volvo 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Proces i cykle testow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Techniki testowe</a:t>
            </a:r>
            <a:endParaRPr lang="en-US" kern="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Strategia i struktura testó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b="1" kern="0" dirty="0" smtClean="0"/>
              <a:t>Planowanie i organizacj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Metryki i narzędzia testowe</a:t>
            </a:r>
          </a:p>
        </p:txBody>
      </p:sp>
      <p:pic>
        <p:nvPicPr>
          <p:cNvPr id="13" name="Picture 6" descr="C:\Users\bpl4027\AppData\Local\Temp\SNAGHTMLac614a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3938240"/>
            <a:ext cx="5191944" cy="2044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4097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3400" y="5123631"/>
            <a:ext cx="5293096" cy="1740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lanowanie i organizacja</a:t>
            </a:r>
            <a:r>
              <a:rPr lang="pl-PL" dirty="0"/>
              <a:t/>
            </a:r>
            <a:br>
              <a:rPr lang="pl-PL" dirty="0"/>
            </a:br>
            <a:r>
              <a:rPr lang="pl-PL" sz="2000" dirty="0" smtClean="0"/>
              <a:t>Master test plan / test plan</a:t>
            </a:r>
            <a:endParaRPr lang="en-GB" sz="1800" dirty="0">
              <a:latin typeface="+mn-lt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323528" y="1844824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sz="1800" dirty="0" smtClean="0"/>
              <a:t>Strategia testów / zakres testó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sz="1800" b="1" dirty="0" smtClean="0"/>
              <a:t>Model wytwarzania oprogramowani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sz="1800" dirty="0" smtClean="0"/>
              <a:t>Podział testó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1800" dirty="0" smtClean="0"/>
              <a:t>Kryteria wejściowe / wyjściow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1800" dirty="0" smtClean="0"/>
              <a:t>Estymacje / </a:t>
            </a:r>
            <a:r>
              <a:rPr lang="pl-PL" sz="1800" b="1" dirty="0" smtClean="0"/>
              <a:t>harmonogram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1800" b="1" dirty="0" smtClean="0"/>
              <a:t>Cykl Życia błędu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1800" dirty="0" smtClean="0"/>
              <a:t>Metryki / lokalizacja dokumentacji oraz rezultatów testó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1800" dirty="0" smtClean="0"/>
              <a:t>Ryzyk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1800" dirty="0" smtClean="0"/>
              <a:t>Narzędzia wspomagające testowani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1800" dirty="0"/>
              <a:t>Ś</a:t>
            </a:r>
            <a:r>
              <a:rPr lang="pl-PL" sz="1800" dirty="0" smtClean="0"/>
              <a:t>rodowiska testow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sz="1800" b="1" dirty="0" smtClean="0"/>
              <a:t>Zasoby</a:t>
            </a:r>
          </a:p>
          <a:p>
            <a:pPr lvl="1">
              <a:buFont typeface="Arial" panose="020B0604020202020204" pitchFamily="34" charset="0"/>
              <a:buChar char="•"/>
            </a:pPr>
            <a:endParaRPr lang="pl-PL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49</a:t>
            </a:fld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8" name="Picture 5" descr="http://www.duetsblog.com/uploads/image/volvologo.jpg">
            <a:hlinkClick r:id="rId4" action="ppaction://hlinkfile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412546"/>
            <a:ext cx="1276731" cy="1206848"/>
          </a:xfrm>
          <a:prstGeom prst="rect">
            <a:avLst/>
          </a:prstGeom>
          <a:noFill/>
          <a:effectLst>
            <a:reflection stA="54000" endPos="20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C:\Program Files (x86)\Microsoft Office\MEDIA\CAGCAT10\j0291984.wmf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2060848"/>
            <a:ext cx="1807769" cy="19138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90577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7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Grupa Volvo </a:t>
            </a:r>
            <a:br>
              <a:rPr lang="pl-PL" dirty="0"/>
            </a:br>
            <a:r>
              <a:rPr lang="pl-PL" sz="2400" dirty="0"/>
              <a:t>Nasze marki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1A48B6B9-208B-4632-BEF9-204970A2537F}" type="slidenum">
              <a:rPr lang="en-US" noProof="0" smtClean="0"/>
              <a:pPr/>
              <a:t>5</a:t>
            </a:fld>
            <a:endParaRPr lang="en-US" noProof="0" dirty="0"/>
          </a:p>
        </p:txBody>
      </p:sp>
      <p:pic>
        <p:nvPicPr>
          <p:cNvPr id="1024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573" b="100000" l="0" r="100000">
                        <a14:foregroundMark x1="19145" y1="25072" x2="19145" y2="25072"/>
                        <a14:foregroundMark x1="33333" y1="35960" x2="33333" y2="35960"/>
                        <a14:foregroundMark x1="73955" y1="66905" x2="73955" y2="66905"/>
                        <a14:foregroundMark x1="66764" y1="28797" x2="66764" y2="28797"/>
                        <a14:foregroundMark x1="67250" y1="16189" x2="67250" y2="16189"/>
                        <a14:foregroundMark x1="65792" y1="15473" x2="65792" y2="15473"/>
                        <a14:foregroundMark x1="67736" y1="18481" x2="67736" y2="18481"/>
                        <a14:foregroundMark x1="67444" y1="21490" x2="67444" y2="214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484" y="1793993"/>
            <a:ext cx="984209" cy="6676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4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9718" r="9655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748" y="1657935"/>
            <a:ext cx="1384798" cy="10852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5" name="Picture 5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337" b="99663" l="189" r="9811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0959" y="1736402"/>
            <a:ext cx="1391473" cy="779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7" name="Picture 7"/>
          <p:cNvPicPr>
            <a:picLocks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7124" y="1811776"/>
            <a:ext cx="1030469" cy="703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0" name="Picture 10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7"/>
          <a:stretch/>
        </p:blipFill>
        <p:spPr bwMode="auto">
          <a:xfrm>
            <a:off x="611528" y="2906776"/>
            <a:ext cx="649900" cy="438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2" name="Picture 12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98"/>
          <a:stretch/>
        </p:blipFill>
        <p:spPr bwMode="auto">
          <a:xfrm>
            <a:off x="611530" y="3399693"/>
            <a:ext cx="638174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3" name="Picture 13"/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98"/>
          <a:stretch/>
        </p:blipFill>
        <p:spPr bwMode="auto">
          <a:xfrm>
            <a:off x="611530" y="3903784"/>
            <a:ext cx="638174" cy="4853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10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82"/>
          <a:stretch/>
        </p:blipFill>
        <p:spPr bwMode="auto">
          <a:xfrm>
            <a:off x="1703233" y="2906776"/>
            <a:ext cx="666750" cy="438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10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" r="1"/>
          <a:stretch/>
        </p:blipFill>
        <p:spPr bwMode="auto">
          <a:xfrm>
            <a:off x="2827675" y="2914289"/>
            <a:ext cx="655724" cy="438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4" name="Picture 1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2765" y="4414993"/>
            <a:ext cx="638175" cy="466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5" name="Picture 15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28" y="4922672"/>
            <a:ext cx="638175" cy="4476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6" name="Picture 16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29" y="5414735"/>
            <a:ext cx="657225" cy="4476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7" name="Picture 17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233" y="3394930"/>
            <a:ext cx="666750" cy="466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8" name="Picture 18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233" y="3920196"/>
            <a:ext cx="647700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9" name="Picture 19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71" r="3168"/>
          <a:stretch/>
        </p:blipFill>
        <p:spPr bwMode="auto">
          <a:xfrm>
            <a:off x="2833612" y="3914258"/>
            <a:ext cx="643849" cy="428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0" name="Picture 20"/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" r="9042"/>
          <a:stretch/>
        </p:blipFill>
        <p:spPr bwMode="auto">
          <a:xfrm>
            <a:off x="2827675" y="4391241"/>
            <a:ext cx="643849" cy="4286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1" name="Picture 21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5699" y="4881106"/>
            <a:ext cx="647700" cy="4191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 descr="\\Vcn.ds.volvo.net\vbs-got\home01\YD23851\My Documents\My Pictures\Logo\Grey\Marine-Industrial_Brands_HIGH.jp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4602" y="2923814"/>
            <a:ext cx="672172" cy="448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2"/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98"/>
          <a:stretch/>
        </p:blipFill>
        <p:spPr bwMode="auto">
          <a:xfrm>
            <a:off x="2827675" y="3404455"/>
            <a:ext cx="638174" cy="45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066" y="0"/>
            <a:ext cx="4334933" cy="6174000"/>
          </a:xfrm>
          <a:prstGeom prst="rect">
            <a:avLst/>
          </a:prstGeom>
        </p:spPr>
      </p:pic>
      <p:pic>
        <p:nvPicPr>
          <p:cNvPr id="8" name="Picture 7"/>
          <p:cNvPicPr>
            <a:picLocks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7593" y="5659"/>
            <a:ext cx="4483567" cy="6168341"/>
          </a:xfrm>
          <a:prstGeom prst="rect">
            <a:avLst/>
          </a:prstGeom>
        </p:spPr>
      </p:pic>
      <p:pic>
        <p:nvPicPr>
          <p:cNvPr id="9" name="Picture 8"/>
          <p:cNvPicPr>
            <a:picLocks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360" y="-131501"/>
            <a:ext cx="4471560" cy="6312636"/>
          </a:xfrm>
          <a:prstGeom prst="rect">
            <a:avLst/>
          </a:prstGeom>
        </p:spPr>
      </p:pic>
      <p:pic>
        <p:nvPicPr>
          <p:cNvPr id="10" name="Picture 9"/>
          <p:cNvPicPr>
            <a:picLocks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7593" y="-35730"/>
            <a:ext cx="4471560" cy="6209730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4360" y="-35730"/>
            <a:ext cx="4471560" cy="6207105"/>
          </a:xfrm>
          <a:prstGeom prst="rect">
            <a:avLst/>
          </a:prstGeom>
        </p:spPr>
      </p:pic>
      <p:pic>
        <p:nvPicPr>
          <p:cNvPr id="4" name="Picture 3"/>
          <p:cNvPicPr>
            <a:picLocks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1240" y="-64365"/>
            <a:ext cx="4471560" cy="6248581"/>
          </a:xfrm>
          <a:prstGeom prst="rect">
            <a:avLst/>
          </a:prstGeom>
        </p:spPr>
      </p:pic>
      <p:pic>
        <p:nvPicPr>
          <p:cNvPr id="5" name="Picture 4"/>
          <p:cNvPicPr>
            <a:picLocks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91240" y="-35730"/>
            <a:ext cx="4471560" cy="6219946"/>
          </a:xfrm>
          <a:prstGeom prst="rect">
            <a:avLst/>
          </a:prstGeom>
        </p:spPr>
      </p:pic>
      <p:pic>
        <p:nvPicPr>
          <p:cNvPr id="12" name="Picture 11"/>
          <p:cNvPicPr>
            <a:picLocks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9120" y="-70389"/>
            <a:ext cx="4456320" cy="6248581"/>
          </a:xfrm>
          <a:prstGeom prst="rect">
            <a:avLst/>
          </a:prstGeom>
        </p:spPr>
      </p:pic>
      <p:pic>
        <p:nvPicPr>
          <p:cNvPr id="13" name="Picture 12"/>
          <p:cNvPicPr>
            <a:picLocks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0496" y="-243840"/>
            <a:ext cx="4460663" cy="6423974"/>
          </a:xfrm>
          <a:prstGeom prst="rect">
            <a:avLst/>
          </a:prstGeom>
        </p:spPr>
      </p:pic>
      <p:pic>
        <p:nvPicPr>
          <p:cNvPr id="14" name="Picture 13"/>
          <p:cNvPicPr>
            <a:picLocks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763" y="5811"/>
            <a:ext cx="4334400" cy="6174000"/>
          </a:xfrm>
          <a:prstGeom prst="rect">
            <a:avLst/>
          </a:prstGeom>
        </p:spPr>
      </p:pic>
      <p:pic>
        <p:nvPicPr>
          <p:cNvPr id="15" name="Picture 14"/>
          <p:cNvPicPr>
            <a:picLocks/>
          </p:cNvPicPr>
          <p:nvPr/>
        </p:nvPicPr>
        <p:blipFill rotWithShape="1"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62" t="6486" r="15348" b="7041"/>
          <a:stretch/>
        </p:blipFill>
        <p:spPr>
          <a:xfrm>
            <a:off x="4809600" y="-6869"/>
            <a:ext cx="4334400" cy="6174000"/>
          </a:xfrm>
          <a:prstGeom prst="rect">
            <a:avLst/>
          </a:prstGeom>
        </p:spPr>
      </p:pic>
      <p:pic>
        <p:nvPicPr>
          <p:cNvPr id="16" name="Picture 15"/>
          <p:cNvPicPr>
            <a:picLocks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332" y="10216"/>
            <a:ext cx="4334400" cy="6174000"/>
          </a:xfrm>
          <a:prstGeom prst="rect">
            <a:avLst/>
          </a:prstGeom>
        </p:spPr>
      </p:pic>
      <p:pic>
        <p:nvPicPr>
          <p:cNvPr id="17" name="Picture 16"/>
          <p:cNvPicPr>
            <a:picLocks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066" y="17539"/>
            <a:ext cx="4334400" cy="6174000"/>
          </a:xfrm>
          <a:prstGeom prst="rect">
            <a:avLst/>
          </a:prstGeom>
        </p:spPr>
      </p:pic>
      <p:pic>
        <p:nvPicPr>
          <p:cNvPr id="18" name="Picture 17"/>
          <p:cNvPicPr>
            <a:picLocks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763" y="-6869"/>
            <a:ext cx="4334400" cy="6174000"/>
          </a:xfrm>
          <a:prstGeom prst="rect">
            <a:avLst/>
          </a:prstGeom>
        </p:spPr>
      </p:pic>
      <p:pic>
        <p:nvPicPr>
          <p:cNvPr id="19" name="Picture 18"/>
          <p:cNvPicPr>
            <a:picLocks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763" y="-1609"/>
            <a:ext cx="4334400" cy="618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9346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4" name="Picture 10" descr="C:\Users\bpld362\AppData\Local\Microsoft\Windows\Temporary Internet Files\Content.IE5\0IP191EE\Tester_Vs_Programmers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9630" y="1916832"/>
            <a:ext cx="4984370" cy="41764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owanie i organizacja</a:t>
            </a:r>
            <a:br>
              <a:rPr lang="pl-PL" dirty="0"/>
            </a:br>
            <a:r>
              <a:rPr lang="pl-PL" sz="2000" dirty="0" smtClean="0"/>
              <a:t>Podział testów w zespole</a:t>
            </a:r>
            <a:r>
              <a:rPr lang="pl-PL" dirty="0" smtClean="0"/>
              <a:t/>
            </a:r>
            <a:br>
              <a:rPr lang="pl-PL" dirty="0" smtClean="0"/>
            </a:br>
            <a:endParaRPr lang="en-GB" sz="1800" dirty="0">
              <a:latin typeface="+mn-lt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323528" y="1844824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Font typeface="Arial" panose="020B0604020202020204" pitchFamily="34" charset="0"/>
              <a:buChar char="•"/>
            </a:pPr>
            <a:r>
              <a:rPr lang="pl-PL" b="1" dirty="0" smtClean="0"/>
              <a:t>Programiści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dirty="0" smtClean="0"/>
              <a:t>Testy jednostkowe/modułow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dirty="0" smtClean="0"/>
              <a:t>Testy „małe” integracyjne</a:t>
            </a:r>
          </a:p>
          <a:p>
            <a:pPr lvl="2">
              <a:buFont typeface="Arial" panose="020B0604020202020204" pitchFamily="34" charset="0"/>
              <a:buChar char="•"/>
            </a:pPr>
            <a:endParaRPr lang="pl-PL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pl-PL" b="1" dirty="0" smtClean="0"/>
              <a:t>Testerzy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dirty="0" smtClean="0"/>
              <a:t>Testy systemow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dirty="0" smtClean="0"/>
              <a:t>Tesy „duże” integracyjn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pl-PL" dirty="0" smtClean="0"/>
              <a:t>Testy akceptacyjne</a:t>
            </a:r>
          </a:p>
          <a:p>
            <a:pPr lvl="2"/>
            <a:endParaRPr lang="pl-PL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pl-PL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50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588963" y="6597352"/>
            <a:ext cx="5016099" cy="230486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Volvo </a:t>
            </a:r>
            <a:r>
              <a:rPr lang="en-US" dirty="0">
                <a:solidFill>
                  <a:srgbClr val="000000"/>
                </a:solidFill>
              </a:rPr>
              <a:t>IT, </a:t>
            </a:r>
            <a:r>
              <a:rPr lang="en-US" dirty="0" err="1">
                <a:solidFill>
                  <a:srgbClr val="000000"/>
                </a:solidFill>
              </a:rPr>
              <a:t>Wrocław</a:t>
            </a:r>
            <a:r>
              <a:rPr lang="en-US" dirty="0">
                <a:solidFill>
                  <a:srgbClr val="000000"/>
                </a:solidFill>
              </a:rPr>
              <a:t>, Poland, </a:t>
            </a:r>
            <a:r>
              <a:rPr lang="pl-PL" dirty="0">
                <a:solidFill>
                  <a:srgbClr val="000000"/>
                </a:solidFill>
              </a:rPr>
              <a:t>January</a:t>
            </a:r>
            <a:r>
              <a:rPr lang="en-US" dirty="0">
                <a:solidFill>
                  <a:srgbClr val="000000"/>
                </a:solidFill>
              </a:rPr>
              <a:t> 201</a:t>
            </a:r>
            <a:r>
              <a:rPr lang="pl-PL" dirty="0">
                <a:solidFill>
                  <a:srgbClr val="000000"/>
                </a:solidFill>
              </a:rPr>
              <a:t>6</a:t>
            </a:r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436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owanie i organizacja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2000" dirty="0" smtClean="0"/>
              <a:t>Harmonogram testowania – Gantt chart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dirty="0" smtClean="0"/>
              <a:t/>
            </a:r>
            <a:br>
              <a:rPr lang="pl-PL" dirty="0" smtClean="0"/>
            </a:b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51</a:t>
            </a:fld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369859"/>
            <a:ext cx="8892480" cy="472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84849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owanie i organizacja</a:t>
            </a:r>
            <a:br>
              <a:rPr lang="pl-PL" dirty="0"/>
            </a:br>
            <a:r>
              <a:rPr lang="pl-PL" sz="2000" dirty="0" smtClean="0"/>
              <a:t>Cykl życia błędu</a:t>
            </a:r>
            <a:r>
              <a:rPr lang="pl-PL" dirty="0" smtClean="0"/>
              <a:t/>
            </a:r>
            <a:br>
              <a:rPr lang="pl-PL" dirty="0" smtClean="0"/>
            </a:b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52</a:t>
            </a:fld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2079" name="Picture 3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556792"/>
            <a:ext cx="8439869" cy="43026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68127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817" y="1318903"/>
            <a:ext cx="8705850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9382" y="413792"/>
            <a:ext cx="8397875" cy="1143000"/>
          </a:xfrm>
        </p:spPr>
        <p:txBody>
          <a:bodyPr/>
          <a:lstStyle/>
          <a:p>
            <a:r>
              <a:rPr lang="pl-PL" dirty="0"/>
              <a:t>Planowanie i organizacja</a:t>
            </a:r>
            <a:br>
              <a:rPr lang="pl-PL" dirty="0"/>
            </a:br>
            <a:r>
              <a:rPr lang="pl-PL" sz="2000" dirty="0" smtClean="0"/>
              <a:t>Zgłoszenie błędu</a:t>
            </a:r>
            <a:r>
              <a:rPr lang="pl-PL" dirty="0" smtClean="0"/>
              <a:t/>
            </a:r>
            <a:br>
              <a:rPr lang="pl-PL" dirty="0" smtClean="0"/>
            </a:b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53</a:t>
            </a:fld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3" name="Rectangle 2"/>
          <p:cNvSpPr/>
          <p:nvPr/>
        </p:nvSpPr>
        <p:spPr bwMode="auto">
          <a:xfrm>
            <a:off x="6142355" y="260997"/>
            <a:ext cx="2808312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b="1" dirty="0" smtClean="0">
                <a:solidFill>
                  <a:srgbClr val="FF0000"/>
                </a:solidFill>
                <a:latin typeface="Arial" charset="0"/>
              </a:rPr>
              <a:t>Unikalny identyfikator</a:t>
            </a:r>
            <a:endParaRPr kumimoji="0" lang="pl-PL" sz="2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cxnSp>
        <p:nvCxnSpPr>
          <p:cNvPr id="8" name="Straight Arrow Connector 7"/>
          <p:cNvCxnSpPr>
            <a:stCxn id="3" idx="1"/>
          </p:cNvCxnSpPr>
          <p:nvPr/>
        </p:nvCxnSpPr>
        <p:spPr bwMode="auto">
          <a:xfrm flipH="1">
            <a:off x="2051720" y="489597"/>
            <a:ext cx="4090635" cy="923179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Rectangle 11"/>
          <p:cNvSpPr/>
          <p:nvPr/>
        </p:nvSpPr>
        <p:spPr bwMode="auto">
          <a:xfrm>
            <a:off x="6142355" y="955576"/>
            <a:ext cx="2808312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b="1" dirty="0" smtClean="0">
                <a:solidFill>
                  <a:srgbClr val="FF0000"/>
                </a:solidFill>
                <a:latin typeface="Arial" charset="0"/>
              </a:rPr>
              <a:t>Nazwa błędu</a:t>
            </a:r>
            <a:endParaRPr kumimoji="0" lang="pl-PL" sz="2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cxnSp>
        <p:nvCxnSpPr>
          <p:cNvPr id="13" name="Straight Arrow Connector 12"/>
          <p:cNvCxnSpPr>
            <a:stCxn id="12" idx="1"/>
          </p:cNvCxnSpPr>
          <p:nvPr/>
        </p:nvCxnSpPr>
        <p:spPr bwMode="auto">
          <a:xfrm flipH="1">
            <a:off x="2771800" y="1184176"/>
            <a:ext cx="3370555" cy="37261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Rectangle 14"/>
          <p:cNvSpPr/>
          <p:nvPr/>
        </p:nvSpPr>
        <p:spPr bwMode="auto">
          <a:xfrm>
            <a:off x="3334043" y="1680730"/>
            <a:ext cx="2808312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b="1" dirty="0" smtClean="0">
                <a:solidFill>
                  <a:srgbClr val="FF0000"/>
                </a:solidFill>
                <a:latin typeface="Arial" charset="0"/>
              </a:rPr>
              <a:t>Autor</a:t>
            </a:r>
            <a:endParaRPr kumimoji="0" lang="pl-PL" sz="2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cxnSp>
        <p:nvCxnSpPr>
          <p:cNvPr id="19" name="Straight Arrow Connector 18"/>
          <p:cNvCxnSpPr>
            <a:stCxn id="15" idx="3"/>
          </p:cNvCxnSpPr>
          <p:nvPr/>
        </p:nvCxnSpPr>
        <p:spPr bwMode="auto">
          <a:xfrm>
            <a:off x="6142355" y="1909330"/>
            <a:ext cx="1404156" cy="454663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2" name="Rectangle 21"/>
          <p:cNvSpPr/>
          <p:nvPr/>
        </p:nvSpPr>
        <p:spPr bwMode="auto">
          <a:xfrm>
            <a:off x="3334043" y="2363993"/>
            <a:ext cx="2808312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b="1" dirty="0" smtClean="0">
                <a:solidFill>
                  <a:srgbClr val="FF0000"/>
                </a:solidFill>
                <a:latin typeface="Arial" charset="0"/>
              </a:rPr>
              <a:t>Data zgłoszenia</a:t>
            </a:r>
            <a:endParaRPr kumimoji="0" lang="pl-PL" sz="2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cxnSp>
        <p:nvCxnSpPr>
          <p:cNvPr id="24" name="Straight Arrow Connector 23"/>
          <p:cNvCxnSpPr>
            <a:stCxn id="22" idx="3"/>
          </p:cNvCxnSpPr>
          <p:nvPr/>
        </p:nvCxnSpPr>
        <p:spPr bwMode="auto">
          <a:xfrm>
            <a:off x="6142355" y="2592593"/>
            <a:ext cx="805909" cy="476367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Rectangle 28"/>
          <p:cNvSpPr/>
          <p:nvPr/>
        </p:nvSpPr>
        <p:spPr bwMode="auto">
          <a:xfrm>
            <a:off x="6142355" y="2996952"/>
            <a:ext cx="2808312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b="1" dirty="0" smtClean="0">
                <a:solidFill>
                  <a:srgbClr val="FF0000"/>
                </a:solidFill>
                <a:latin typeface="Arial" charset="0"/>
              </a:rPr>
              <a:t>Opis środowiska</a:t>
            </a:r>
            <a:endParaRPr kumimoji="0" lang="pl-PL" sz="2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cxnSp>
        <p:nvCxnSpPr>
          <p:cNvPr id="27" name="Straight Arrow Connector 26"/>
          <p:cNvCxnSpPr>
            <a:stCxn id="29" idx="1"/>
          </p:cNvCxnSpPr>
          <p:nvPr/>
        </p:nvCxnSpPr>
        <p:spPr bwMode="auto">
          <a:xfrm flipH="1" flipV="1">
            <a:off x="2555776" y="2830776"/>
            <a:ext cx="3586579" cy="39477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Rectangle 31"/>
          <p:cNvSpPr/>
          <p:nvPr/>
        </p:nvSpPr>
        <p:spPr bwMode="auto">
          <a:xfrm>
            <a:off x="5940152" y="3683864"/>
            <a:ext cx="3010515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b="1" dirty="0" smtClean="0">
                <a:solidFill>
                  <a:srgbClr val="FF0000"/>
                </a:solidFill>
                <a:latin typeface="Arial" charset="0"/>
              </a:rPr>
              <a:t>Wersja oprogramowania</a:t>
            </a:r>
            <a:endParaRPr kumimoji="0" lang="pl-PL" sz="2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cxnSp>
        <p:nvCxnSpPr>
          <p:cNvPr id="31" name="Straight Arrow Connector 30"/>
          <p:cNvCxnSpPr>
            <a:stCxn id="32" idx="1"/>
          </p:cNvCxnSpPr>
          <p:nvPr/>
        </p:nvCxnSpPr>
        <p:spPr bwMode="auto">
          <a:xfrm flipH="1" flipV="1">
            <a:off x="2339752" y="3225552"/>
            <a:ext cx="3600400" cy="686912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Rectangle 34"/>
          <p:cNvSpPr/>
          <p:nvPr/>
        </p:nvSpPr>
        <p:spPr bwMode="auto">
          <a:xfrm>
            <a:off x="5940152" y="4294707"/>
            <a:ext cx="3010515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pl-PL" sz="2000" b="1" dirty="0" smtClean="0">
                <a:solidFill>
                  <a:srgbClr val="FF0000"/>
                </a:solidFill>
                <a:latin typeface="Arial" charset="0"/>
              </a:rPr>
              <a:t>Wynik testów</a:t>
            </a:r>
            <a:endParaRPr kumimoji="0" lang="pl-PL" sz="20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cxnSp>
        <p:nvCxnSpPr>
          <p:cNvPr id="34" name="Straight Arrow Connector 33"/>
          <p:cNvCxnSpPr>
            <a:stCxn id="35" idx="1"/>
          </p:cNvCxnSpPr>
          <p:nvPr/>
        </p:nvCxnSpPr>
        <p:spPr bwMode="auto">
          <a:xfrm flipH="1" flipV="1">
            <a:off x="2627784" y="4437112"/>
            <a:ext cx="3312368" cy="86195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3" name="Rectangle 42"/>
          <p:cNvSpPr/>
          <p:nvPr/>
        </p:nvSpPr>
        <p:spPr bwMode="auto">
          <a:xfrm>
            <a:off x="323528" y="5373216"/>
            <a:ext cx="3010515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l-PL" sz="20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Arial" charset="0"/>
              </a:rPr>
              <a:t>Severity</a:t>
            </a:r>
          </a:p>
        </p:txBody>
      </p:sp>
      <p:cxnSp>
        <p:nvCxnSpPr>
          <p:cNvPr id="42" name="Straight Arrow Connector 41"/>
          <p:cNvCxnSpPr>
            <a:stCxn id="48" idx="0"/>
          </p:cNvCxnSpPr>
          <p:nvPr/>
        </p:nvCxnSpPr>
        <p:spPr bwMode="auto">
          <a:xfrm flipH="1" flipV="1">
            <a:off x="1043608" y="2276872"/>
            <a:ext cx="778695" cy="2473308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Rectangle 47"/>
          <p:cNvSpPr/>
          <p:nvPr/>
        </p:nvSpPr>
        <p:spPr bwMode="auto">
          <a:xfrm>
            <a:off x="317045" y="4750180"/>
            <a:ext cx="3010515" cy="4572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0000"/>
                </a:solidFill>
                <a:latin typeface="Arial" charset="0"/>
              </a:rPr>
              <a:t>Priorytet naprawy</a:t>
            </a:r>
          </a:p>
        </p:txBody>
      </p:sp>
      <p:cxnSp>
        <p:nvCxnSpPr>
          <p:cNvPr id="51" name="Straight Arrow Connector 50"/>
          <p:cNvCxnSpPr>
            <a:stCxn id="43" idx="0"/>
          </p:cNvCxnSpPr>
          <p:nvPr/>
        </p:nvCxnSpPr>
        <p:spPr bwMode="auto">
          <a:xfrm flipH="1" flipV="1">
            <a:off x="683568" y="3513526"/>
            <a:ext cx="1145218" cy="185969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0641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2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" grpId="0" animBg="1"/>
      <p:bldP spid="15" grpId="0" animBg="1"/>
      <p:bldP spid="22" grpId="0" animBg="1"/>
      <p:bldP spid="29" grpId="0" animBg="1"/>
      <p:bldP spid="32" grpId="0" animBg="1"/>
      <p:bldP spid="35" grpId="0" animBg="1"/>
      <p:bldP spid="43" grpId="0" animBg="1"/>
      <p:bldP spid="48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bpld362\AppData\Local\Microsoft\Windows\Temporary Internet Files\Content.IE5\YZR2F9YT\220px-Surveillance_quevaal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00" y="1700808"/>
            <a:ext cx="2794000" cy="323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owanie i organizacja</a:t>
            </a:r>
            <a:br>
              <a:rPr lang="pl-PL" dirty="0"/>
            </a:br>
            <a:r>
              <a:rPr lang="pl-PL" sz="2000" dirty="0" smtClean="0"/>
              <a:t>Monitorowanie i nadzorowanie testów</a:t>
            </a:r>
            <a:r>
              <a:rPr lang="pl-PL" dirty="0" smtClean="0"/>
              <a:t/>
            </a:r>
            <a:br>
              <a:rPr lang="pl-PL" dirty="0" smtClean="0"/>
            </a:br>
            <a:endParaRPr lang="en-GB" sz="1800" dirty="0">
              <a:latin typeface="+mn-lt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336873" y="1367086"/>
            <a:ext cx="7772400" cy="4255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Font typeface="Arial" panose="020B0604020202020204" pitchFamily="34" charset="0"/>
              <a:buChar char="•"/>
            </a:pPr>
            <a:r>
              <a:rPr lang="pl-PL" b="1" dirty="0" smtClean="0"/>
              <a:t>Monitorowanie jaka część zaplanowanych przypadków testowych została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Przygotowana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Wykonana</a:t>
            </a:r>
            <a:br>
              <a:rPr lang="pl-PL" dirty="0" smtClean="0"/>
            </a:br>
            <a:endParaRPr lang="pl-PL" dirty="0" smtClean="0"/>
          </a:p>
          <a:p>
            <a:pPr lvl="0">
              <a:buFont typeface="Arial" panose="020B0604020202020204" pitchFamily="34" charset="0"/>
              <a:buChar char="•"/>
            </a:pPr>
            <a:r>
              <a:rPr lang="pl-PL" b="1" dirty="0" smtClean="0"/>
              <a:t>Monitorowanie przebiegu wykonania testów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Liczba wykonanych i niewykonanych przypadków testowych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Liczba przypadków testowych które „przeszły” i „nie przeszły”</a:t>
            </a:r>
            <a:br>
              <a:rPr lang="pl-PL" dirty="0" smtClean="0"/>
            </a:br>
            <a:endParaRPr lang="pl-PL" dirty="0" smtClean="0"/>
          </a:p>
          <a:p>
            <a:pPr lvl="0">
              <a:buFont typeface="Arial" panose="020B0604020202020204" pitchFamily="34" charset="0"/>
              <a:buChar char="•"/>
            </a:pPr>
            <a:r>
              <a:rPr lang="pl-PL" b="1" dirty="0" smtClean="0"/>
              <a:t>Statystyki o błędach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Liczba znalezionych i naprawionych defektów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Czas „Życia błędu”</a:t>
            </a: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54</a:t>
            </a:fld>
            <a:endParaRPr lang="sv-S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26909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owanie i organizacja</a:t>
            </a:r>
            <a:br>
              <a:rPr lang="pl-PL" dirty="0"/>
            </a:br>
            <a:r>
              <a:rPr lang="pl-PL" sz="2000" dirty="0" smtClean="0"/>
              <a:t>Przebieg wykonania testów</a:t>
            </a:r>
            <a:r>
              <a:rPr lang="pl-PL" dirty="0" smtClean="0"/>
              <a:t/>
            </a:r>
            <a:br>
              <a:rPr lang="pl-PL" dirty="0" smtClean="0"/>
            </a:b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55</a:t>
            </a:fld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33111"/>
            <a:ext cx="6912768" cy="5192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0124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owanie i organizacja</a:t>
            </a:r>
            <a:br>
              <a:rPr lang="pl-PL" dirty="0"/>
            </a:br>
            <a:r>
              <a:rPr lang="pl-PL" sz="2000" dirty="0" smtClean="0"/>
              <a:t>Liczba znalezionych, naprawionych błędów</a:t>
            </a:r>
            <a:r>
              <a:rPr lang="pl-PL" dirty="0" smtClean="0"/>
              <a:t/>
            </a:r>
            <a:br>
              <a:rPr lang="pl-PL" dirty="0" smtClean="0"/>
            </a:br>
            <a:endParaRPr lang="en-GB" sz="1800" dirty="0">
              <a:latin typeface="+mn-l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56</a:t>
            </a:fld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7170" name="Picture 1" descr="image001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10"/>
          <a:stretch/>
        </p:blipFill>
        <p:spPr bwMode="auto">
          <a:xfrm>
            <a:off x="467544" y="1610436"/>
            <a:ext cx="5943228" cy="4089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00192" y="1707563"/>
            <a:ext cx="2743468" cy="3895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0955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owanie i organizacja</a:t>
            </a:r>
            <a:r>
              <a:rPr lang="pl-PL" dirty="0" smtClean="0"/>
              <a:t/>
            </a:r>
            <a:br>
              <a:rPr lang="pl-PL" dirty="0" smtClean="0"/>
            </a:br>
            <a:r>
              <a:rPr lang="pl-PL" sz="2000" dirty="0" smtClean="0"/>
              <a:t>Skład zespołu testowego</a:t>
            </a:r>
            <a:r>
              <a:rPr lang="pl-PL" dirty="0" smtClean="0"/>
              <a:t/>
            </a:r>
            <a:br>
              <a:rPr lang="pl-PL" dirty="0" smtClean="0"/>
            </a:br>
            <a:endParaRPr lang="en-GB" sz="1800" dirty="0">
              <a:latin typeface="+mn-lt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323528" y="1844824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Font typeface="Arial" panose="020B0604020202020204" pitchFamily="34" charset="0"/>
              <a:buChar char="•"/>
            </a:pPr>
            <a:r>
              <a:rPr lang="pl-PL" b="1" dirty="0" smtClean="0"/>
              <a:t>Lider testów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pl-PL" b="1" dirty="0" smtClean="0"/>
              <a:t>Testerzy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Analitycy testowi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Programiści testów automatycznych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Wykonujący testy</a:t>
            </a:r>
          </a:p>
          <a:p>
            <a:pPr lvl="0">
              <a:buFont typeface="Arial" panose="020B0604020202020204" pitchFamily="34" charset="0"/>
              <a:buChar char="•"/>
            </a:pPr>
            <a:r>
              <a:rPr lang="pl-PL" b="1" dirty="0" smtClean="0"/>
              <a:t>Inne osoby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Programista – testy modułowe/integracyjn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Specjalista biznesowy – testy akceptacyjne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 smtClean="0"/>
              <a:t>Zewnętrzne zasoby – testy wydajnościowe</a:t>
            </a:r>
          </a:p>
          <a:p>
            <a:pPr lvl="0">
              <a:buFont typeface="Arial" panose="020B0604020202020204" pitchFamily="34" charset="0"/>
              <a:buChar char="•"/>
            </a:pPr>
            <a:endParaRPr lang="pl-P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57</a:t>
            </a:fld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4099" name="Picture 3" descr="C:\Users\bpld362\AppData\Local\Microsoft\Windows\Temporary Internet Files\Content.IE5\Z7SESWQY\bonecos-amigos[1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4974" y="1628800"/>
            <a:ext cx="3047619" cy="3047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343554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Planowanie i organizacja</a:t>
            </a:r>
            <a:br>
              <a:rPr lang="pl-PL" dirty="0"/>
            </a:br>
            <a:r>
              <a:rPr lang="pl-PL" sz="2000" dirty="0" smtClean="0"/>
              <a:t>Raport z testów</a:t>
            </a:r>
            <a:r>
              <a:rPr lang="pl-PL" dirty="0" smtClean="0"/>
              <a:t/>
            </a:r>
            <a:br>
              <a:rPr lang="pl-PL" dirty="0" smtClean="0"/>
            </a:br>
            <a:endParaRPr lang="en-GB" sz="1800" dirty="0">
              <a:latin typeface="+mn-lt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 bwMode="auto">
          <a:xfrm>
            <a:off x="323528" y="1844824"/>
            <a:ext cx="7772400" cy="3895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lvl="0">
              <a:buFont typeface="Arial" panose="020B0604020202020204" pitchFamily="34" charset="0"/>
              <a:buChar char="•"/>
            </a:pPr>
            <a:r>
              <a:rPr lang="pl-PL" b="1" dirty="0" smtClean="0"/>
              <a:t>Lista błędów: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/>
              <a:t>Według poziomu krytyczności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pl-PL" dirty="0"/>
              <a:t>Według wykonywania przez </a:t>
            </a:r>
            <a:r>
              <a:rPr lang="pl-PL" dirty="0" smtClean="0"/>
              <a:t>testerów</a:t>
            </a:r>
          </a:p>
          <a:p>
            <a:pPr lvl="1">
              <a:buFont typeface="Arial" panose="020B0604020202020204" pitchFamily="34" charset="0"/>
              <a:buChar char="•"/>
            </a:pPr>
            <a:endParaRPr lang="pl-PL" dirty="0" smtClean="0"/>
          </a:p>
          <a:p>
            <a:pPr lvl="0">
              <a:buFont typeface="Arial" panose="020B0604020202020204" pitchFamily="34" charset="0"/>
              <a:buChar char="•"/>
            </a:pPr>
            <a:r>
              <a:rPr lang="pl-PL" b="1" dirty="0" smtClean="0"/>
              <a:t>Raporty czasow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58</a:t>
            </a:fld>
            <a:endParaRPr lang="sv-SE" dirty="0">
              <a:solidFill>
                <a:srgbClr val="000000"/>
              </a:solidFill>
            </a:endParaRPr>
          </a:p>
        </p:txBody>
      </p:sp>
      <p:pic>
        <p:nvPicPr>
          <p:cNvPr id="5122" name="Picture 2" descr="C:\Users\bpld362\AppData\Local\Microsoft\Windows\Temporary Internet Files\Content.IE5\QNAZVMQD\Rapports3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3446512"/>
            <a:ext cx="2280331" cy="26878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Bildresultat för geek and poke best practices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136" y="908720"/>
            <a:ext cx="3347864" cy="47399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85188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Agenda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59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Volvo Group </a:t>
            </a:r>
            <a:r>
              <a:rPr lang="pl-PL" kern="0" dirty="0"/>
              <a:t>i</a:t>
            </a:r>
            <a:r>
              <a:rPr lang="pl-PL" kern="0" dirty="0" smtClean="0"/>
              <a:t> Volvo IT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Proces i cykle testow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Techniki testowe</a:t>
            </a:r>
            <a:endParaRPr lang="en-US" kern="0" dirty="0" smtClean="0"/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Strategia i struktura testów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kern="0" dirty="0" smtClean="0"/>
              <a:t>Planowanie i organizacja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pl-PL" b="1" kern="0" dirty="0" smtClean="0"/>
              <a:t>Metryki i narzędzia testowe</a:t>
            </a:r>
          </a:p>
        </p:txBody>
      </p:sp>
      <p:pic>
        <p:nvPicPr>
          <p:cNvPr id="13" name="Picture 6" descr="C:\Users\bpl4027\AppData\Local\Temp\SNAGHTMLac614a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896" y="3938240"/>
            <a:ext cx="5191944" cy="2044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2738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noProof="0" smtClean="0"/>
              <a:pPr/>
              <a:t>6</a:t>
            </a:fld>
            <a:endParaRPr lang="en-US" noProof="0" dirty="0"/>
          </a:p>
        </p:txBody>
      </p:sp>
      <p:pic>
        <p:nvPicPr>
          <p:cNvPr id="5" name="Picture 83" descr="01_VolvoAB_pp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1025" y="0"/>
            <a:ext cx="4752975" cy="5191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"/>
          <p:cNvGrpSpPr>
            <a:grpSpLocks/>
          </p:cNvGrpSpPr>
          <p:nvPr/>
        </p:nvGrpSpPr>
        <p:grpSpPr bwMode="auto">
          <a:xfrm>
            <a:off x="414338" y="1679575"/>
            <a:ext cx="8356600" cy="4271963"/>
            <a:chOff x="414338" y="1679575"/>
            <a:chExt cx="8356600" cy="4271963"/>
          </a:xfrm>
        </p:grpSpPr>
        <p:pic>
          <p:nvPicPr>
            <p:cNvPr id="7" name="Picture 50" descr="MAP CLEEN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CFDFF"/>
                </a:clrFrom>
                <a:clrTo>
                  <a:srgbClr val="FCFD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38" y="1679575"/>
              <a:ext cx="7840663" cy="4271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6"/>
            <p:cNvSpPr>
              <a:spLocks noChangeArrowheads="1"/>
            </p:cNvSpPr>
            <p:nvPr/>
          </p:nvSpPr>
          <p:spPr bwMode="auto">
            <a:xfrm>
              <a:off x="4568826" y="2622550"/>
              <a:ext cx="92075" cy="90488"/>
            </a:xfrm>
            <a:prstGeom prst="ellipse">
              <a:avLst/>
            </a:prstGeom>
            <a:solidFill>
              <a:srgbClr val="CC3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l-PL" b="1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" name="Oval 5"/>
            <p:cNvSpPr>
              <a:spLocks noChangeArrowheads="1"/>
            </p:cNvSpPr>
            <p:nvPr/>
          </p:nvSpPr>
          <p:spPr bwMode="auto">
            <a:xfrm>
              <a:off x="4802188" y="2616200"/>
              <a:ext cx="88900" cy="90488"/>
            </a:xfrm>
            <a:prstGeom prst="ellipse">
              <a:avLst/>
            </a:prstGeom>
            <a:solidFill>
              <a:srgbClr val="CC3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l-PL" b="1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" name="Text Box 9"/>
            <p:cNvSpPr txBox="1">
              <a:spLocks noChangeArrowheads="1"/>
            </p:cNvSpPr>
            <p:nvPr/>
          </p:nvSpPr>
          <p:spPr bwMode="auto">
            <a:xfrm>
              <a:off x="4852988" y="2528888"/>
              <a:ext cx="700088" cy="27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0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hangingPunct="0">
                <a:spcBef>
                  <a:spcPct val="0"/>
                </a:spcBef>
              </a:pPr>
              <a:r>
                <a:rPr lang="en-US" sz="1200">
                  <a:solidFill>
                    <a:srgbClr val="000000"/>
                  </a:solidFill>
                </a:rPr>
                <a:t>Poland </a:t>
              </a:r>
            </a:p>
          </p:txBody>
        </p:sp>
        <p:sp>
          <p:nvSpPr>
            <p:cNvPr id="11" name="Text Box 10"/>
            <p:cNvSpPr txBox="1">
              <a:spLocks noChangeArrowheads="1"/>
            </p:cNvSpPr>
            <p:nvPr/>
          </p:nvSpPr>
          <p:spPr bwMode="auto">
            <a:xfrm>
              <a:off x="4476751" y="2663825"/>
              <a:ext cx="1219200" cy="27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0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hangingPunct="0">
                <a:spcBef>
                  <a:spcPct val="0"/>
                </a:spcBef>
              </a:pPr>
              <a:r>
                <a:rPr lang="en-US" sz="1200" dirty="0">
                  <a:solidFill>
                    <a:srgbClr val="000000"/>
                  </a:solidFill>
                </a:rPr>
                <a:t>Belgium </a:t>
              </a:r>
            </a:p>
          </p:txBody>
        </p:sp>
        <p:grpSp>
          <p:nvGrpSpPr>
            <p:cNvPr id="12" name="Group 56"/>
            <p:cNvGrpSpPr>
              <a:grpSpLocks/>
            </p:cNvGrpSpPr>
            <p:nvPr/>
          </p:nvGrpSpPr>
          <p:grpSpPr bwMode="auto">
            <a:xfrm>
              <a:off x="1235076" y="3044825"/>
              <a:ext cx="720725" cy="274638"/>
              <a:chOff x="1026" y="2009"/>
              <a:chExt cx="454" cy="173"/>
            </a:xfrm>
          </p:grpSpPr>
          <p:sp>
            <p:nvSpPr>
              <p:cNvPr id="60" name="Oval 12"/>
              <p:cNvSpPr>
                <a:spLocks noChangeArrowheads="1"/>
              </p:cNvSpPr>
              <p:nvPr/>
            </p:nvSpPr>
            <p:spPr bwMode="auto">
              <a:xfrm>
                <a:off x="1311" y="2071"/>
                <a:ext cx="57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61" name="Text Box 13"/>
              <p:cNvSpPr txBox="1">
                <a:spLocks noChangeArrowheads="1"/>
              </p:cNvSpPr>
              <p:nvPr/>
            </p:nvSpPr>
            <p:spPr bwMode="auto">
              <a:xfrm>
                <a:off x="1026" y="2009"/>
                <a:ext cx="454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USA </a:t>
                </a:r>
              </a:p>
            </p:txBody>
          </p:sp>
        </p:grpSp>
        <p:grpSp>
          <p:nvGrpSpPr>
            <p:cNvPr id="13" name="Group 60"/>
            <p:cNvGrpSpPr>
              <a:grpSpLocks/>
            </p:cNvGrpSpPr>
            <p:nvPr/>
          </p:nvGrpSpPr>
          <p:grpSpPr bwMode="auto">
            <a:xfrm>
              <a:off x="7105651" y="3836988"/>
              <a:ext cx="865188" cy="274638"/>
              <a:chOff x="3877" y="2543"/>
              <a:chExt cx="545" cy="173"/>
            </a:xfrm>
          </p:grpSpPr>
          <p:sp>
            <p:nvSpPr>
              <p:cNvPr id="58" name="Oval 14"/>
              <p:cNvSpPr>
                <a:spLocks noChangeArrowheads="1"/>
              </p:cNvSpPr>
              <p:nvPr/>
            </p:nvSpPr>
            <p:spPr bwMode="auto">
              <a:xfrm>
                <a:off x="3877" y="2613"/>
                <a:ext cx="58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59" name="Text Box 15"/>
              <p:cNvSpPr txBox="1">
                <a:spLocks noChangeArrowheads="1"/>
              </p:cNvSpPr>
              <p:nvPr/>
            </p:nvSpPr>
            <p:spPr bwMode="auto">
              <a:xfrm>
                <a:off x="3878" y="2543"/>
                <a:ext cx="544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 dirty="0">
                    <a:solidFill>
                      <a:srgbClr val="000000"/>
                    </a:solidFill>
                  </a:rPr>
                  <a:t> Malaysia</a:t>
                </a:r>
              </a:p>
            </p:txBody>
          </p:sp>
        </p:grpSp>
        <p:grpSp>
          <p:nvGrpSpPr>
            <p:cNvPr id="14" name="Group 109"/>
            <p:cNvGrpSpPr>
              <a:grpSpLocks/>
            </p:cNvGrpSpPr>
            <p:nvPr/>
          </p:nvGrpSpPr>
          <p:grpSpPr bwMode="auto">
            <a:xfrm>
              <a:off x="4227513" y="2178050"/>
              <a:ext cx="820738" cy="317500"/>
              <a:chOff x="2663" y="1407"/>
              <a:chExt cx="517" cy="200"/>
            </a:xfrm>
          </p:grpSpPr>
          <p:sp>
            <p:nvSpPr>
              <p:cNvPr id="56" name="Text Box 8"/>
              <p:cNvSpPr txBox="1">
                <a:spLocks noChangeArrowheads="1"/>
              </p:cNvSpPr>
              <p:nvPr/>
            </p:nvSpPr>
            <p:spPr bwMode="auto">
              <a:xfrm>
                <a:off x="2663" y="1407"/>
                <a:ext cx="517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r"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Sweden</a:t>
                </a:r>
              </a:p>
            </p:txBody>
          </p:sp>
          <p:sp>
            <p:nvSpPr>
              <p:cNvPr id="57" name="Oval 16"/>
              <p:cNvSpPr>
                <a:spLocks noChangeArrowheads="1"/>
              </p:cNvSpPr>
              <p:nvPr/>
            </p:nvSpPr>
            <p:spPr bwMode="auto">
              <a:xfrm>
                <a:off x="2919" y="1550"/>
                <a:ext cx="56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15" name="Group 65"/>
            <p:cNvGrpSpPr>
              <a:grpSpLocks/>
            </p:cNvGrpSpPr>
            <p:nvPr/>
          </p:nvGrpSpPr>
          <p:grpSpPr bwMode="auto">
            <a:xfrm>
              <a:off x="2857501" y="2528888"/>
              <a:ext cx="1573213" cy="238125"/>
              <a:chOff x="1800" y="1628"/>
              <a:chExt cx="991" cy="150"/>
            </a:xfrm>
          </p:grpSpPr>
          <p:sp>
            <p:nvSpPr>
              <p:cNvPr id="54" name="Text Box 11"/>
              <p:cNvSpPr txBox="1">
                <a:spLocks noChangeArrowheads="1"/>
              </p:cNvSpPr>
              <p:nvPr/>
            </p:nvSpPr>
            <p:spPr bwMode="auto">
              <a:xfrm>
                <a:off x="1800" y="1628"/>
                <a:ext cx="964" cy="15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r" eaLnBrk="0" hangingPunct="0">
                  <a:lnSpc>
                    <a:spcPct val="80000"/>
                  </a:lnSpc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United Kingdom</a:t>
                </a:r>
              </a:p>
            </p:txBody>
          </p:sp>
          <p:sp>
            <p:nvSpPr>
              <p:cNvPr id="55" name="Oval 17"/>
              <p:cNvSpPr>
                <a:spLocks noChangeArrowheads="1"/>
              </p:cNvSpPr>
              <p:nvPr/>
            </p:nvSpPr>
            <p:spPr bwMode="auto">
              <a:xfrm>
                <a:off x="2734" y="1682"/>
                <a:ext cx="57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16" name="Group 66"/>
            <p:cNvGrpSpPr>
              <a:grpSpLocks/>
            </p:cNvGrpSpPr>
            <p:nvPr/>
          </p:nvGrpSpPr>
          <p:grpSpPr bwMode="auto">
            <a:xfrm>
              <a:off x="3776663" y="2670175"/>
              <a:ext cx="727075" cy="274638"/>
              <a:chOff x="2379" y="1717"/>
              <a:chExt cx="458" cy="173"/>
            </a:xfrm>
          </p:grpSpPr>
          <p:sp>
            <p:nvSpPr>
              <p:cNvPr id="52" name="Text Box 7"/>
              <p:cNvSpPr txBox="1">
                <a:spLocks noChangeArrowheads="1"/>
              </p:cNvSpPr>
              <p:nvPr/>
            </p:nvSpPr>
            <p:spPr bwMode="auto">
              <a:xfrm>
                <a:off x="2379" y="1717"/>
                <a:ext cx="457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France </a:t>
                </a:r>
              </a:p>
            </p:txBody>
          </p:sp>
          <p:sp>
            <p:nvSpPr>
              <p:cNvPr id="53" name="Oval 20"/>
              <p:cNvSpPr>
                <a:spLocks noChangeArrowheads="1"/>
              </p:cNvSpPr>
              <p:nvPr/>
            </p:nvSpPr>
            <p:spPr bwMode="auto">
              <a:xfrm>
                <a:off x="2779" y="1783"/>
                <a:ext cx="58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17" name="Group 108"/>
            <p:cNvGrpSpPr>
              <a:grpSpLocks/>
            </p:cNvGrpSpPr>
            <p:nvPr/>
          </p:nvGrpSpPr>
          <p:grpSpPr bwMode="auto">
            <a:xfrm>
              <a:off x="1866901" y="4781550"/>
              <a:ext cx="671513" cy="274638"/>
              <a:chOff x="1176" y="3047"/>
              <a:chExt cx="423" cy="173"/>
            </a:xfrm>
          </p:grpSpPr>
          <p:sp>
            <p:nvSpPr>
              <p:cNvPr id="50" name="Oval 21"/>
              <p:cNvSpPr>
                <a:spLocks noChangeArrowheads="1"/>
              </p:cNvSpPr>
              <p:nvPr/>
            </p:nvSpPr>
            <p:spPr bwMode="auto">
              <a:xfrm>
                <a:off x="1542" y="3108"/>
                <a:ext cx="57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51" name="Text Box 22"/>
              <p:cNvSpPr txBox="1">
                <a:spLocks noChangeArrowheads="1"/>
              </p:cNvSpPr>
              <p:nvPr/>
            </p:nvSpPr>
            <p:spPr bwMode="auto">
              <a:xfrm>
                <a:off x="1176" y="3047"/>
                <a:ext cx="386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Brazil</a:t>
                </a:r>
              </a:p>
            </p:txBody>
          </p:sp>
        </p:grpSp>
        <p:grpSp>
          <p:nvGrpSpPr>
            <p:cNvPr id="18" name="Group 110"/>
            <p:cNvGrpSpPr>
              <a:grpSpLocks/>
            </p:cNvGrpSpPr>
            <p:nvPr/>
          </p:nvGrpSpPr>
          <p:grpSpPr bwMode="auto">
            <a:xfrm>
              <a:off x="5907088" y="3686175"/>
              <a:ext cx="606425" cy="274638"/>
              <a:chOff x="3721" y="2357"/>
              <a:chExt cx="382" cy="173"/>
            </a:xfrm>
          </p:grpSpPr>
          <p:sp>
            <p:nvSpPr>
              <p:cNvPr id="48" name="Oval 23"/>
              <p:cNvSpPr>
                <a:spLocks noChangeArrowheads="1"/>
              </p:cNvSpPr>
              <p:nvPr/>
            </p:nvSpPr>
            <p:spPr bwMode="auto">
              <a:xfrm>
                <a:off x="4046" y="2420"/>
                <a:ext cx="57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49" name="Text Box 24"/>
              <p:cNvSpPr txBox="1">
                <a:spLocks noChangeArrowheads="1"/>
              </p:cNvSpPr>
              <p:nvPr/>
            </p:nvSpPr>
            <p:spPr bwMode="auto">
              <a:xfrm>
                <a:off x="3721" y="2357"/>
                <a:ext cx="356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r" eaLnBrk="0" hangingPunct="0"/>
                <a:r>
                  <a:rPr lang="en-US" sz="1200" dirty="0">
                    <a:solidFill>
                      <a:srgbClr val="000000"/>
                    </a:solidFill>
                  </a:rPr>
                  <a:t>India</a:t>
                </a:r>
              </a:p>
            </p:txBody>
          </p:sp>
        </p:grpSp>
        <p:grpSp>
          <p:nvGrpSpPr>
            <p:cNvPr id="19" name="Group 115"/>
            <p:cNvGrpSpPr>
              <a:grpSpLocks/>
            </p:cNvGrpSpPr>
            <p:nvPr/>
          </p:nvGrpSpPr>
          <p:grpSpPr bwMode="auto">
            <a:xfrm>
              <a:off x="7246938" y="3060700"/>
              <a:ext cx="771525" cy="296863"/>
              <a:chOff x="4488" y="2005"/>
              <a:chExt cx="486" cy="187"/>
            </a:xfrm>
          </p:grpSpPr>
          <p:sp>
            <p:nvSpPr>
              <p:cNvPr id="46" name="Text Box 27"/>
              <p:cNvSpPr txBox="1">
                <a:spLocks noChangeArrowheads="1"/>
              </p:cNvSpPr>
              <p:nvPr/>
            </p:nvSpPr>
            <p:spPr bwMode="auto">
              <a:xfrm>
                <a:off x="4488" y="2019"/>
                <a:ext cx="486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Korea</a:t>
                </a:r>
              </a:p>
            </p:txBody>
          </p:sp>
          <p:sp>
            <p:nvSpPr>
              <p:cNvPr id="47" name="Oval 28"/>
              <p:cNvSpPr>
                <a:spLocks noChangeArrowheads="1"/>
              </p:cNvSpPr>
              <p:nvPr/>
            </p:nvSpPr>
            <p:spPr bwMode="auto">
              <a:xfrm>
                <a:off x="4641" y="2005"/>
                <a:ext cx="56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20" name="Group 53"/>
            <p:cNvGrpSpPr>
              <a:grpSpLocks/>
            </p:cNvGrpSpPr>
            <p:nvPr/>
          </p:nvGrpSpPr>
          <p:grpSpPr bwMode="auto">
            <a:xfrm>
              <a:off x="4922838" y="4986338"/>
              <a:ext cx="1165225" cy="274638"/>
              <a:chOff x="2789" y="3256"/>
              <a:chExt cx="734" cy="173"/>
            </a:xfrm>
          </p:grpSpPr>
          <p:sp>
            <p:nvSpPr>
              <p:cNvPr id="44" name="Text Box 29"/>
              <p:cNvSpPr txBox="1">
                <a:spLocks noChangeArrowheads="1"/>
              </p:cNvSpPr>
              <p:nvPr/>
            </p:nvSpPr>
            <p:spPr bwMode="auto">
              <a:xfrm>
                <a:off x="2824" y="3256"/>
                <a:ext cx="699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South Africa</a:t>
                </a:r>
              </a:p>
            </p:txBody>
          </p:sp>
          <p:sp>
            <p:nvSpPr>
              <p:cNvPr id="45" name="Oval 30"/>
              <p:cNvSpPr>
                <a:spLocks noChangeArrowheads="1"/>
              </p:cNvSpPr>
              <p:nvPr/>
            </p:nvSpPr>
            <p:spPr bwMode="auto">
              <a:xfrm>
                <a:off x="2789" y="3319"/>
                <a:ext cx="57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</p:grpSp>
        <p:grpSp>
          <p:nvGrpSpPr>
            <p:cNvPr id="21" name="Group 51"/>
            <p:cNvGrpSpPr>
              <a:grpSpLocks/>
            </p:cNvGrpSpPr>
            <p:nvPr/>
          </p:nvGrpSpPr>
          <p:grpSpPr bwMode="auto">
            <a:xfrm>
              <a:off x="414338" y="3508375"/>
              <a:ext cx="755650" cy="274638"/>
              <a:chOff x="696" y="2315"/>
              <a:chExt cx="476" cy="173"/>
            </a:xfrm>
          </p:grpSpPr>
          <p:sp>
            <p:nvSpPr>
              <p:cNvPr id="42" name="Oval 34"/>
              <p:cNvSpPr>
                <a:spLocks noChangeArrowheads="1"/>
              </p:cNvSpPr>
              <p:nvPr/>
            </p:nvSpPr>
            <p:spPr bwMode="auto">
              <a:xfrm>
                <a:off x="1110" y="2385"/>
                <a:ext cx="57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43" name="Text Box 35"/>
              <p:cNvSpPr txBox="1">
                <a:spLocks noChangeArrowheads="1"/>
              </p:cNvSpPr>
              <p:nvPr/>
            </p:nvSpPr>
            <p:spPr bwMode="auto">
              <a:xfrm>
                <a:off x="696" y="2315"/>
                <a:ext cx="476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Mexico</a:t>
                </a:r>
              </a:p>
            </p:txBody>
          </p:sp>
        </p:grpSp>
        <p:grpSp>
          <p:nvGrpSpPr>
            <p:cNvPr id="22" name="Group 111"/>
            <p:cNvGrpSpPr>
              <a:grpSpLocks/>
            </p:cNvGrpSpPr>
            <p:nvPr/>
          </p:nvGrpSpPr>
          <p:grpSpPr bwMode="auto">
            <a:xfrm>
              <a:off x="6667501" y="2901950"/>
              <a:ext cx="690563" cy="274638"/>
              <a:chOff x="4081" y="1919"/>
              <a:chExt cx="435" cy="173"/>
            </a:xfrm>
          </p:grpSpPr>
          <p:sp>
            <p:nvSpPr>
              <p:cNvPr id="40" name="Oval 25"/>
              <p:cNvSpPr>
                <a:spLocks noChangeArrowheads="1"/>
              </p:cNvSpPr>
              <p:nvPr/>
            </p:nvSpPr>
            <p:spPr bwMode="auto">
              <a:xfrm>
                <a:off x="4459" y="1989"/>
                <a:ext cx="57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algn="ctr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41" name="Text Box 26"/>
              <p:cNvSpPr txBox="1">
                <a:spLocks noChangeArrowheads="1"/>
              </p:cNvSpPr>
              <p:nvPr/>
            </p:nvSpPr>
            <p:spPr bwMode="auto">
              <a:xfrm>
                <a:off x="4081" y="1919"/>
                <a:ext cx="405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r"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China</a:t>
                </a:r>
              </a:p>
            </p:txBody>
          </p:sp>
        </p:grpSp>
        <p:sp>
          <p:nvSpPr>
            <p:cNvPr id="23" name="Oval 38"/>
            <p:cNvSpPr>
              <a:spLocks noChangeArrowheads="1"/>
            </p:cNvSpPr>
            <p:nvPr/>
          </p:nvSpPr>
          <p:spPr bwMode="auto">
            <a:xfrm>
              <a:off x="5175251" y="2511425"/>
              <a:ext cx="90488" cy="90488"/>
            </a:xfrm>
            <a:prstGeom prst="ellipse">
              <a:avLst/>
            </a:prstGeom>
            <a:solidFill>
              <a:srgbClr val="CC33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round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l-PL" b="1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24" name="Text Box 39"/>
            <p:cNvSpPr txBox="1">
              <a:spLocks noChangeArrowheads="1"/>
            </p:cNvSpPr>
            <p:nvPr/>
          </p:nvSpPr>
          <p:spPr bwMode="auto">
            <a:xfrm>
              <a:off x="5213351" y="2414588"/>
              <a:ext cx="898525" cy="27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 sz="2000" b="1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 sz="2000" b="1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0" hangingPunct="0">
                <a:spcBef>
                  <a:spcPct val="0"/>
                </a:spcBef>
              </a:pPr>
              <a:r>
                <a:rPr lang="en-US" sz="1200">
                  <a:solidFill>
                    <a:srgbClr val="000000"/>
                  </a:solidFill>
                </a:rPr>
                <a:t>Russia</a:t>
              </a:r>
            </a:p>
          </p:txBody>
        </p:sp>
        <p:grpSp>
          <p:nvGrpSpPr>
            <p:cNvPr id="25" name="Group 58"/>
            <p:cNvGrpSpPr>
              <a:grpSpLocks/>
            </p:cNvGrpSpPr>
            <p:nvPr/>
          </p:nvGrpSpPr>
          <p:grpSpPr bwMode="auto">
            <a:xfrm>
              <a:off x="7048501" y="3608388"/>
              <a:ext cx="936625" cy="274638"/>
              <a:chOff x="3875" y="2392"/>
              <a:chExt cx="590" cy="173"/>
            </a:xfrm>
          </p:grpSpPr>
          <p:sp>
            <p:nvSpPr>
              <p:cNvPr id="38" name="Oval 40"/>
              <p:cNvSpPr>
                <a:spLocks noChangeArrowheads="1"/>
              </p:cNvSpPr>
              <p:nvPr/>
            </p:nvSpPr>
            <p:spPr bwMode="auto">
              <a:xfrm>
                <a:off x="3875" y="2459"/>
                <a:ext cx="57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39" name="Text Box 41"/>
              <p:cNvSpPr txBox="1">
                <a:spLocks noChangeArrowheads="1"/>
              </p:cNvSpPr>
              <p:nvPr/>
            </p:nvSpPr>
            <p:spPr bwMode="auto">
              <a:xfrm>
                <a:off x="3899" y="2392"/>
                <a:ext cx="566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 dirty="0">
                    <a:solidFill>
                      <a:srgbClr val="000000"/>
                    </a:solidFill>
                  </a:rPr>
                  <a:t>Thailand</a:t>
                </a:r>
              </a:p>
            </p:txBody>
          </p:sp>
        </p:grpSp>
        <p:grpSp>
          <p:nvGrpSpPr>
            <p:cNvPr id="26" name="Group 55"/>
            <p:cNvGrpSpPr>
              <a:grpSpLocks/>
            </p:cNvGrpSpPr>
            <p:nvPr/>
          </p:nvGrpSpPr>
          <p:grpSpPr bwMode="auto">
            <a:xfrm>
              <a:off x="1482726" y="2693988"/>
              <a:ext cx="773113" cy="274638"/>
              <a:chOff x="1062" y="1764"/>
              <a:chExt cx="487" cy="173"/>
            </a:xfrm>
          </p:grpSpPr>
          <p:sp>
            <p:nvSpPr>
              <p:cNvPr id="36" name="Oval 42"/>
              <p:cNvSpPr>
                <a:spLocks noChangeArrowheads="1"/>
              </p:cNvSpPr>
              <p:nvPr/>
            </p:nvSpPr>
            <p:spPr bwMode="auto">
              <a:xfrm>
                <a:off x="1492" y="1833"/>
                <a:ext cx="57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37" name="Text Box 43"/>
              <p:cNvSpPr txBox="1">
                <a:spLocks noChangeArrowheads="1"/>
              </p:cNvSpPr>
              <p:nvPr/>
            </p:nvSpPr>
            <p:spPr bwMode="auto">
              <a:xfrm>
                <a:off x="1062" y="1764"/>
                <a:ext cx="472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Canada</a:t>
                </a:r>
              </a:p>
            </p:txBody>
          </p:sp>
        </p:grpSp>
        <p:grpSp>
          <p:nvGrpSpPr>
            <p:cNvPr id="27" name="Group 61"/>
            <p:cNvGrpSpPr>
              <a:grpSpLocks/>
            </p:cNvGrpSpPr>
            <p:nvPr/>
          </p:nvGrpSpPr>
          <p:grpSpPr bwMode="auto">
            <a:xfrm>
              <a:off x="7680326" y="2987675"/>
              <a:ext cx="811213" cy="274638"/>
              <a:chOff x="4394" y="1989"/>
              <a:chExt cx="511" cy="173"/>
            </a:xfrm>
          </p:grpSpPr>
          <p:sp>
            <p:nvSpPr>
              <p:cNvPr id="34" name="Oval 44"/>
              <p:cNvSpPr>
                <a:spLocks noChangeArrowheads="1"/>
              </p:cNvSpPr>
              <p:nvPr/>
            </p:nvSpPr>
            <p:spPr bwMode="auto">
              <a:xfrm>
                <a:off x="4394" y="2047"/>
                <a:ext cx="57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35" name="Text Box 45"/>
              <p:cNvSpPr txBox="1">
                <a:spLocks noChangeArrowheads="1"/>
              </p:cNvSpPr>
              <p:nvPr/>
            </p:nvSpPr>
            <p:spPr bwMode="auto">
              <a:xfrm>
                <a:off x="4419" y="1989"/>
                <a:ext cx="486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Japan</a:t>
                </a:r>
              </a:p>
            </p:txBody>
          </p:sp>
        </p:grpSp>
        <p:grpSp>
          <p:nvGrpSpPr>
            <p:cNvPr id="28" name="Group 59"/>
            <p:cNvGrpSpPr>
              <a:grpSpLocks/>
            </p:cNvGrpSpPr>
            <p:nvPr/>
          </p:nvGrpSpPr>
          <p:grpSpPr bwMode="auto">
            <a:xfrm>
              <a:off x="7178676" y="4024313"/>
              <a:ext cx="992188" cy="274638"/>
              <a:chOff x="3933" y="2647"/>
              <a:chExt cx="625" cy="173"/>
            </a:xfrm>
          </p:grpSpPr>
          <p:sp>
            <p:nvSpPr>
              <p:cNvPr id="32" name="Oval 46"/>
              <p:cNvSpPr>
                <a:spLocks noChangeArrowheads="1"/>
              </p:cNvSpPr>
              <p:nvPr/>
            </p:nvSpPr>
            <p:spPr bwMode="auto">
              <a:xfrm>
                <a:off x="3933" y="2709"/>
                <a:ext cx="58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33" name="Text Box 47"/>
              <p:cNvSpPr txBox="1">
                <a:spLocks noChangeArrowheads="1"/>
              </p:cNvSpPr>
              <p:nvPr/>
            </p:nvSpPr>
            <p:spPr bwMode="auto">
              <a:xfrm>
                <a:off x="3934" y="2647"/>
                <a:ext cx="624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>
                  <a:spcBef>
                    <a:spcPct val="0"/>
                  </a:spcBef>
                </a:pPr>
                <a:r>
                  <a:rPr lang="en-US" sz="1200">
                    <a:solidFill>
                      <a:srgbClr val="000000"/>
                    </a:solidFill>
                  </a:rPr>
                  <a:t> Singapore</a:t>
                </a:r>
              </a:p>
            </p:txBody>
          </p:sp>
        </p:grpSp>
        <p:grpSp>
          <p:nvGrpSpPr>
            <p:cNvPr id="29" name="Group 113"/>
            <p:cNvGrpSpPr>
              <a:grpSpLocks/>
            </p:cNvGrpSpPr>
            <p:nvPr/>
          </p:nvGrpSpPr>
          <p:grpSpPr bwMode="auto">
            <a:xfrm>
              <a:off x="7834313" y="5156200"/>
              <a:ext cx="936625" cy="338138"/>
              <a:chOff x="4935" y="3248"/>
              <a:chExt cx="590" cy="213"/>
            </a:xfrm>
          </p:grpSpPr>
          <p:sp>
            <p:nvSpPr>
              <p:cNvPr id="30" name="Oval 18"/>
              <p:cNvSpPr>
                <a:spLocks noChangeArrowheads="1"/>
              </p:cNvSpPr>
              <p:nvPr/>
            </p:nvSpPr>
            <p:spPr bwMode="auto">
              <a:xfrm>
                <a:off x="5182" y="3248"/>
                <a:ext cx="56" cy="57"/>
              </a:xfrm>
              <a:prstGeom prst="ellipse">
                <a:avLst/>
              </a:prstGeom>
              <a:solidFill>
                <a:srgbClr val="CC330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pl-PL" b="1">
                  <a:solidFill>
                    <a:srgbClr val="000000"/>
                  </a:solidFill>
                  <a:latin typeface="Arial" pitchFamily="34" charset="0"/>
                </a:endParaRPr>
              </a:p>
            </p:txBody>
          </p:sp>
          <p:sp>
            <p:nvSpPr>
              <p:cNvPr id="31" name="Text Box 19"/>
              <p:cNvSpPr txBox="1">
                <a:spLocks noChangeArrowheads="1"/>
              </p:cNvSpPr>
              <p:nvPr/>
            </p:nvSpPr>
            <p:spPr bwMode="auto">
              <a:xfrm>
                <a:off x="4935" y="3288"/>
                <a:ext cx="590" cy="17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000" b="1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0" hangingPunct="0"/>
                <a:r>
                  <a:rPr lang="en-US" sz="1200" dirty="0">
                    <a:solidFill>
                      <a:srgbClr val="000000"/>
                    </a:solidFill>
                  </a:rPr>
                  <a:t>Australia</a:t>
                </a:r>
              </a:p>
            </p:txBody>
          </p:sp>
        </p:grpSp>
      </p:grpSp>
      <p:sp>
        <p:nvSpPr>
          <p:cNvPr id="62" name="Rectangle 2"/>
          <p:cNvSpPr txBox="1">
            <a:spLocks noChangeArrowheads="1"/>
          </p:cNvSpPr>
          <p:nvPr/>
        </p:nvSpPr>
        <p:spPr>
          <a:xfrm>
            <a:off x="337932" y="354150"/>
            <a:ext cx="8229600" cy="1143000"/>
          </a:xfrm>
          <a:prstGeom prst="rect">
            <a:avLst/>
          </a:prstGeom>
        </p:spPr>
        <p:txBody>
          <a:bodyPr/>
          <a:lstStyle>
            <a:lvl1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pl-PL" kern="0" dirty="0" smtClean="0"/>
              <a:t>Volvo Group </a:t>
            </a:r>
            <a:r>
              <a:rPr lang="en-US" kern="0" dirty="0" smtClean="0"/>
              <a:t>IT</a:t>
            </a:r>
            <a:endParaRPr lang="pl-PL" kern="0" dirty="0" smtClean="0"/>
          </a:p>
          <a:p>
            <a:r>
              <a:rPr lang="pl-PL" sz="2400" dirty="0"/>
              <a:t>Globalna obecność</a:t>
            </a:r>
            <a:endParaRPr lang="sv-SE" sz="2400" kern="0" dirty="0" smtClean="0"/>
          </a:p>
        </p:txBody>
      </p:sp>
    </p:spTree>
    <p:extLst>
      <p:ext uri="{BB962C8B-B14F-4D97-AF65-F5344CB8AC3E}">
        <p14:creationId xmlns:p14="http://schemas.microsoft.com/office/powerpoint/2010/main" val="4242917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Metryki testowe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60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en-US" kern="0" dirty="0" smtClean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5116354"/>
              </p:ext>
            </p:extLst>
          </p:nvPr>
        </p:nvGraphicFramePr>
        <p:xfrm>
          <a:off x="322263" y="1719147"/>
          <a:ext cx="8667153" cy="44917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89051"/>
                <a:gridCol w="2889051"/>
                <a:gridCol w="2889051"/>
              </a:tblGrid>
              <a:tr h="647542">
                <a:tc>
                  <a:txBody>
                    <a:bodyPr/>
                    <a:lstStyle/>
                    <a:p>
                      <a:r>
                        <a:rPr lang="pl-PL" dirty="0" smtClean="0"/>
                        <a:t>Typy metryk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Co mierzymy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dirty="0" smtClean="0"/>
                        <a:t>Przykład</a:t>
                      </a:r>
                      <a:endParaRPr lang="en-GB" dirty="0"/>
                    </a:p>
                  </a:txBody>
                  <a:tcPr/>
                </a:tc>
              </a:tr>
              <a:tr h="1010452">
                <a:tc>
                  <a:txBody>
                    <a:bodyPr/>
                    <a:lstStyle/>
                    <a:p>
                      <a:r>
                        <a:rPr lang="pl-PL" dirty="0" smtClean="0"/>
                        <a:t>Metryki</a:t>
                      </a:r>
                      <a:r>
                        <a:rPr lang="pl-PL" baseline="0" dirty="0" smtClean="0"/>
                        <a:t> projektow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kern="0" dirty="0" smtClean="0"/>
                        <a:t>Progres w odniesieniu do kryteriów</a:t>
                      </a:r>
                      <a:r>
                        <a:rPr lang="pl-PL" kern="0" baseline="0" dirty="0" smtClean="0"/>
                        <a:t> końcowych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kern="0" dirty="0" smtClean="0"/>
                        <a:t>Liczba zaplanowanych i wykonanych warunków testowych</a:t>
                      </a:r>
                      <a:endParaRPr lang="en-GB" dirty="0"/>
                    </a:p>
                  </a:txBody>
                  <a:tcPr/>
                </a:tc>
              </a:tr>
              <a:tr h="812850">
                <a:tc>
                  <a:txBody>
                    <a:bodyPr/>
                    <a:lstStyle/>
                    <a:p>
                      <a:r>
                        <a:rPr lang="pl-PL" dirty="0" smtClean="0"/>
                        <a:t>Metryki produktow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kern="0" dirty="0" smtClean="0"/>
                        <a:t>Atrybuty produktu</a:t>
                      </a:r>
                      <a:endParaRPr lang="en-US" kern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kern="0" dirty="0" smtClean="0"/>
                        <a:t>Gęstość defektów</a:t>
                      </a:r>
                      <a:endParaRPr lang="en-US" kern="0" dirty="0" smtClean="0"/>
                    </a:p>
                  </a:txBody>
                  <a:tcPr/>
                </a:tc>
              </a:tr>
              <a:tr h="1010452">
                <a:tc>
                  <a:txBody>
                    <a:bodyPr/>
                    <a:lstStyle/>
                    <a:p>
                      <a:r>
                        <a:rPr lang="pl-PL" dirty="0" smtClean="0"/>
                        <a:t>Metryki procesow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kern="0" dirty="0" smtClean="0"/>
                        <a:t>Możliwości procesu testowego lub deweloperskiego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kern="0" dirty="0" smtClean="0"/>
                        <a:t>Procentowa</a:t>
                      </a:r>
                      <a:r>
                        <a:rPr lang="pl-PL" kern="0" baseline="0" dirty="0" smtClean="0"/>
                        <a:t> ilość defektów wykrytych w procesie testowania</a:t>
                      </a:r>
                      <a:endParaRPr lang="en-US" kern="0" dirty="0" smtClean="0"/>
                    </a:p>
                  </a:txBody>
                  <a:tcPr/>
                </a:tc>
              </a:tr>
              <a:tr h="1010452">
                <a:tc>
                  <a:txBody>
                    <a:bodyPr/>
                    <a:lstStyle/>
                    <a:p>
                      <a:r>
                        <a:rPr lang="pl-PL" dirty="0" smtClean="0"/>
                        <a:t>Metryki</a:t>
                      </a:r>
                      <a:r>
                        <a:rPr lang="pl-PL" baseline="0" dirty="0" smtClean="0"/>
                        <a:t> ludzki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kern="0" dirty="0" smtClean="0"/>
                        <a:t>Zdolności</a:t>
                      </a:r>
                      <a:r>
                        <a:rPr lang="pl-PL" kern="0" baseline="0" dirty="0" smtClean="0"/>
                        <a:t> jednostek</a:t>
                      </a:r>
                      <a:br>
                        <a:rPr lang="pl-PL" kern="0" baseline="0" dirty="0" smtClean="0"/>
                      </a:br>
                      <a:r>
                        <a:rPr lang="pl-PL" kern="0" baseline="0" dirty="0" smtClean="0"/>
                        <a:t>lub grup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b="0" kern="0" dirty="0" smtClean="0"/>
                        <a:t>Ilość</a:t>
                      </a:r>
                      <a:r>
                        <a:rPr lang="pl-PL" b="0" kern="0" baseline="0" dirty="0" smtClean="0"/>
                        <a:t> utworzonych przypadków testowych</a:t>
                      </a:r>
                      <a:br>
                        <a:rPr lang="pl-PL" b="0" kern="0" baseline="0" dirty="0" smtClean="0"/>
                      </a:br>
                      <a:r>
                        <a:rPr lang="pl-PL" b="0" kern="0" baseline="0" dirty="0" smtClean="0"/>
                        <a:t>w danym czasie</a:t>
                      </a:r>
                      <a:endParaRPr lang="en-GB" b="0" dirty="0" smtClean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8" name="Picture 4" descr="https://i.pinimg.com/736x/30/df/77/30df771d76f9f39f03349529efd8b8c7--marketing-ideas-online-marketing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7904" y="-1"/>
            <a:ext cx="5436096" cy="16902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2942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Narzędzia testowe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61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pl-PL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zykłady narzędzi testowych wspierających testowanie</a:t>
            </a:r>
          </a:p>
          <a:p>
            <a:endParaRPr lang="pl-PL" b="1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en-US" b="1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l-PL" kern="0" dirty="0" smtClean="0"/>
              <a:t>Jira</a:t>
            </a:r>
          </a:p>
          <a:p>
            <a:endParaRPr lang="pl-PL" kern="0" dirty="0" smtClean="0"/>
          </a:p>
          <a:p>
            <a:r>
              <a:rPr lang="pl-PL" kern="0" dirty="0" smtClean="0"/>
              <a:t>HP Quality Center / HP ALM</a:t>
            </a:r>
          </a:p>
        </p:txBody>
      </p:sp>
      <p:pic>
        <p:nvPicPr>
          <p:cNvPr id="2050" name="Picture 2" descr="C:\Users\bpld362\AppData\Local\Microsoft\Windows\Temporary Internet Files\Content.IE5\CCKO7YXW\ferramentas[1]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1151" y="2580718"/>
            <a:ext cx="2095500" cy="2095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 descr="C:\Users\bpld362\AppData\Local\Microsoft\Windows\Temporary Internet Files\Content.IE5\CCKO7YXW\jira_icon_0[1]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2353897"/>
            <a:ext cx="1011709" cy="981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:\My Documents\!Important\HP_QC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8463" y="3212975"/>
            <a:ext cx="1081012" cy="1076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00496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0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8" dur="2000"/>
                                        <p:tgtEl>
                                          <p:spTgt spid="2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Jira – </a:t>
            </a:r>
            <a:r>
              <a:rPr lang="pl-PL" dirty="0" smtClean="0"/>
              <a:t>narzędzie do śledzenia defektów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62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pl-PL" kern="0" dirty="0" smtClean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63" y="1246189"/>
            <a:ext cx="8721445" cy="4843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142" y="3119696"/>
            <a:ext cx="7795064" cy="21873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96797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778" y="476672"/>
            <a:ext cx="8397875" cy="1143000"/>
          </a:xfrm>
        </p:spPr>
        <p:txBody>
          <a:bodyPr/>
          <a:lstStyle/>
          <a:p>
            <a:r>
              <a:rPr lang="pl-PL" dirty="0"/>
              <a:t>Jira – </a:t>
            </a:r>
            <a:r>
              <a:rPr lang="pl-PL" dirty="0" smtClean="0"/>
              <a:t>filtrowanie defektów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63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pl-PL" kern="0" dirty="0" smtClean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024243"/>
            <a:ext cx="8055640" cy="49984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181" y="2636912"/>
            <a:ext cx="6732748" cy="24482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1009398"/>
            <a:ext cx="5688632" cy="10799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88313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Jira – </a:t>
            </a:r>
            <a:r>
              <a:rPr lang="pl-PL" dirty="0" smtClean="0"/>
              <a:t>statystyki testowe</a:t>
            </a:r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64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pl-PL" kern="0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84" y="1052736"/>
            <a:ext cx="8460104" cy="48279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63" y="1040129"/>
            <a:ext cx="6183432" cy="442100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2884488"/>
            <a:ext cx="6836518" cy="2996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3806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P Quality Center  - </a:t>
            </a:r>
            <a:r>
              <a:rPr lang="pl-PL" dirty="0" smtClean="0"/>
              <a:t>baza przypadków testowych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65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pl-PL" kern="0" dirty="0" smtClean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370249"/>
            <a:ext cx="8392944" cy="4620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856" y="1270749"/>
            <a:ext cx="3253087" cy="48363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1880" y="1844824"/>
            <a:ext cx="5147051" cy="16534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52530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P Quality Center  - </a:t>
            </a:r>
            <a:r>
              <a:rPr lang="pl-PL" dirty="0" smtClean="0"/>
              <a:t>śledzenie rezultatów testó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66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pl-PL" kern="0" dirty="0" smtClean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263" y="1289469"/>
            <a:ext cx="8496944" cy="4677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768" y="950194"/>
            <a:ext cx="5898927" cy="50051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2413055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P Quality Center  - </a:t>
            </a:r>
            <a:r>
              <a:rPr lang="pl-PL" dirty="0" smtClean="0"/>
              <a:t>progres testów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67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pl-PL" kern="0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24" y="1077507"/>
            <a:ext cx="6704023" cy="5028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95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P Quality Center  </a:t>
            </a:r>
            <a:r>
              <a:rPr lang="en-US" dirty="0" smtClean="0"/>
              <a:t>-</a:t>
            </a:r>
            <a:r>
              <a:rPr lang="pl-PL" dirty="0"/>
              <a:t> </a:t>
            </a:r>
            <a:r>
              <a:rPr lang="pl-PL" dirty="0" smtClean="0"/>
              <a:t>statystyki testow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B965AC01-636B-4266-A3EE-4AE08EAA261E}" type="slidenum">
              <a:rPr lang="sv-SE" smtClean="0">
                <a:solidFill>
                  <a:srgbClr val="000000"/>
                </a:solidFill>
              </a:rPr>
              <a:pPr>
                <a:defRPr/>
              </a:pPr>
              <a:t>68</a:t>
            </a:fld>
            <a:endParaRPr lang="sv-SE" dirty="0">
              <a:solidFill>
                <a:srgbClr val="000000"/>
              </a:solidFill>
            </a:endParaRPr>
          </a:p>
        </p:txBody>
      </p:sp>
      <p:grpSp>
        <p:nvGrpSpPr>
          <p:cNvPr id="32" name="Group 103"/>
          <p:cNvGrpSpPr>
            <a:grpSpLocks/>
          </p:cNvGrpSpPr>
          <p:nvPr/>
        </p:nvGrpSpPr>
        <p:grpSpPr bwMode="auto">
          <a:xfrm>
            <a:off x="0" y="1246188"/>
            <a:ext cx="125413" cy="4859337"/>
            <a:chOff x="0" y="785"/>
            <a:chExt cx="79" cy="3061"/>
          </a:xfrm>
        </p:grpSpPr>
        <p:sp>
          <p:nvSpPr>
            <p:cNvPr id="33" name="Rectangle 100"/>
            <p:cNvSpPr>
              <a:spLocks noChangeAspect="1" noChangeArrowheads="1"/>
            </p:cNvSpPr>
            <p:nvPr/>
          </p:nvSpPr>
          <p:spPr bwMode="auto">
            <a:xfrm>
              <a:off x="0" y="1817"/>
              <a:ext cx="79" cy="1003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4" name="Rectangle 101"/>
            <p:cNvSpPr>
              <a:spLocks noChangeAspect="1" noChangeArrowheads="1"/>
            </p:cNvSpPr>
            <p:nvPr/>
          </p:nvSpPr>
          <p:spPr bwMode="auto">
            <a:xfrm>
              <a:off x="0" y="2840"/>
              <a:ext cx="79" cy="1006"/>
            </a:xfrm>
            <a:prstGeom prst="rect">
              <a:avLst/>
            </a:prstGeom>
            <a:solidFill>
              <a:srgbClr val="89992B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  <p:sp>
          <p:nvSpPr>
            <p:cNvPr id="35" name="Rectangle 102"/>
            <p:cNvSpPr>
              <a:spLocks noChangeArrowheads="1"/>
            </p:cNvSpPr>
            <p:nvPr/>
          </p:nvSpPr>
          <p:spPr bwMode="auto">
            <a:xfrm>
              <a:off x="0" y="785"/>
              <a:ext cx="79" cy="1007"/>
            </a:xfrm>
            <a:prstGeom prst="rect">
              <a:avLst/>
            </a:prstGeom>
            <a:solidFill>
              <a:srgbClr val="CEDB8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rgbClr val="CEDB8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50000"/>
                </a:spcBef>
                <a:spcAft>
                  <a:spcPct val="0"/>
                </a:spcAft>
              </a:pPr>
              <a:endParaRPr lang="pl-PL" sz="2000">
                <a:solidFill>
                  <a:srgbClr val="000000"/>
                </a:solidFill>
              </a:endParaRPr>
            </a:p>
          </p:txBody>
        </p:sp>
      </p:grpSp>
      <p:sp>
        <p:nvSpPr>
          <p:cNvPr id="10" name="Content Placeholder 2"/>
          <p:cNvSpPr txBox="1">
            <a:spLocks/>
          </p:cNvSpPr>
          <p:nvPr/>
        </p:nvSpPr>
        <p:spPr>
          <a:xfrm>
            <a:off x="322263" y="1484785"/>
            <a:ext cx="7772400" cy="4287366"/>
          </a:xfrm>
          <a:prstGeom prst="rect">
            <a:avLst/>
          </a:prstGeom>
        </p:spPr>
        <p:txBody>
          <a:bodyPr/>
          <a:lstStyle>
            <a:lvl1pPr marL="234950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60388" indent="-234950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2pPr>
            <a:lvl3pPr marL="860425" indent="-2079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SzPct val="110000"/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+mn-lt"/>
              </a:defRPr>
            </a:lvl3pPr>
            <a:lvl4pPr marL="1109663" indent="-1825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1382713" indent="-195263" algn="l" rtl="0" eaLnBrk="0" fontAlgn="base" hangingPunct="0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18399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2971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27543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211513" indent="-195263" algn="l" rtl="0" fontAlgn="base">
              <a:spcBef>
                <a:spcPct val="40000"/>
              </a:spcBef>
              <a:spcAft>
                <a:spcPct val="0"/>
              </a:spcAft>
              <a:buClr>
                <a:schemeClr val="tx2"/>
              </a:buClr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endParaRPr lang="pl-PL" kern="0" dirty="0" smtClean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095" y="1198799"/>
            <a:ext cx="8592823" cy="4859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263" y="974316"/>
            <a:ext cx="7371473" cy="37436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9672" y="620688"/>
            <a:ext cx="7524328" cy="40972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055" y="2132856"/>
            <a:ext cx="6097945" cy="40551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8263803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0"/>
            <a:ext cx="1475655" cy="6165304"/>
          </a:xfrm>
          <a:prstGeom prst="rect">
            <a:avLst/>
          </a:prstGeom>
        </p:spPr>
      </p:pic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547664" y="53752"/>
            <a:ext cx="7488832" cy="1143000"/>
          </a:xfrm>
        </p:spPr>
        <p:txBody>
          <a:bodyPr/>
          <a:lstStyle/>
          <a:p>
            <a:r>
              <a:rPr lang="pl-PL" sz="2800" dirty="0" smtClean="0"/>
              <a:t>PROGRAM </a:t>
            </a:r>
            <a:r>
              <a:rPr lang="pl-PL" sz="2800" dirty="0"/>
              <a:t>PRAKTYK LETNICH </a:t>
            </a:r>
            <a:r>
              <a:rPr lang="pl-PL" sz="1800" dirty="0" smtClean="0"/>
              <a:t/>
            </a:r>
            <a:br>
              <a:rPr lang="pl-PL" sz="1800" dirty="0" smtClean="0"/>
            </a:br>
            <a:r>
              <a:rPr lang="pl-PL" sz="1800" dirty="0" smtClean="0"/>
              <a:t>lipiec – </a:t>
            </a:r>
            <a:r>
              <a:rPr lang="pl-PL" sz="1800" smtClean="0"/>
              <a:t>wrzesień 2018</a:t>
            </a:r>
            <a:endParaRPr lang="nl-BE" sz="18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smtClean="0">
                <a:solidFill>
                  <a:srgbClr val="000000"/>
                </a:solidFill>
              </a:rPr>
              <a:pPr/>
              <a:t>6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Title 6"/>
          <p:cNvSpPr txBox="1">
            <a:spLocks/>
          </p:cNvSpPr>
          <p:nvPr/>
        </p:nvSpPr>
        <p:spPr>
          <a:xfrm>
            <a:off x="1475656" y="1279521"/>
            <a:ext cx="7488832" cy="468581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l-PL" sz="2000" b="0" dirty="0" smtClean="0"/>
              <a:t>Praktyki są płatne i skierowane do studentów </a:t>
            </a:r>
            <a:r>
              <a:rPr lang="pl-PL" sz="2000" b="0" dirty="0"/>
              <a:t>III, IV i V roku kierunków informatycznych, ekonomicznych lub pokrewnych, zainteresowanych obszarem IT, znających dobrze język </a:t>
            </a:r>
            <a:r>
              <a:rPr lang="pl-PL" sz="2000" b="0" dirty="0" smtClean="0"/>
              <a:t>angielski</a:t>
            </a:r>
            <a:r>
              <a:rPr lang="pl-PL" sz="2000" b="0" dirty="0"/>
              <a:t>.</a:t>
            </a:r>
            <a:endParaRPr lang="pl-PL" sz="2000" b="0" dirty="0" smtClean="0"/>
          </a:p>
          <a:p>
            <a:endParaRPr lang="pl-PL" sz="2000" b="0" dirty="0" smtClean="0"/>
          </a:p>
          <a:p>
            <a:r>
              <a:rPr lang="pl-PL" sz="2000" b="0" dirty="0" smtClean="0"/>
              <a:t>Obszary praktyk:</a:t>
            </a:r>
            <a:endParaRPr lang="pl-PL" sz="2000" b="0" dirty="0"/>
          </a:p>
          <a:p>
            <a:r>
              <a:rPr lang="pl-PL" sz="2000" b="0" dirty="0"/>
              <a:t>• Microsoft .NET oraz SharePoint </a:t>
            </a:r>
          </a:p>
          <a:p>
            <a:r>
              <a:rPr lang="pl-PL" sz="2000" b="0" dirty="0"/>
              <a:t>• Java </a:t>
            </a:r>
          </a:p>
          <a:p>
            <a:r>
              <a:rPr lang="pl-PL" sz="2000" b="0" dirty="0"/>
              <a:t>• IBM iSeries </a:t>
            </a:r>
          </a:p>
          <a:p>
            <a:r>
              <a:rPr lang="pl-PL" sz="2000" b="0" dirty="0"/>
              <a:t>• SAP </a:t>
            </a:r>
          </a:p>
          <a:p>
            <a:r>
              <a:rPr lang="pl-PL" sz="2000" b="0" dirty="0"/>
              <a:t>• Business Intelligence </a:t>
            </a:r>
          </a:p>
          <a:p>
            <a:r>
              <a:rPr lang="pl-PL" sz="2000" b="0" dirty="0"/>
              <a:t>• Aplikacje mobilne (iOS, Android) </a:t>
            </a:r>
          </a:p>
          <a:p>
            <a:r>
              <a:rPr lang="pl-PL" sz="2000" b="0" dirty="0"/>
              <a:t>• Testowanie </a:t>
            </a:r>
          </a:p>
          <a:p>
            <a:r>
              <a:rPr lang="pl-PL" sz="2000" b="0" dirty="0"/>
              <a:t>• Wsparcie klienta </a:t>
            </a:r>
          </a:p>
          <a:p>
            <a:r>
              <a:rPr lang="pl-PL" sz="2000" b="0" dirty="0"/>
              <a:t> Rekrutacja do programu zaczyna się w kwietniu </a:t>
            </a:r>
            <a:r>
              <a:rPr lang="pl-PL" sz="2000" b="0" dirty="0" smtClean="0"/>
              <a:t>pod:</a:t>
            </a:r>
          </a:p>
          <a:p>
            <a:pPr algn="r"/>
            <a:r>
              <a:rPr lang="pl-PL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v</a:t>
            </a:r>
            <a:r>
              <a:rPr lang="pl-PL" sz="20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olvogroup.pl/kariera</a:t>
            </a:r>
            <a:endParaRPr lang="en-GB" sz="2000" dirty="0" smtClean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1403648" y="1268760"/>
            <a:ext cx="7488832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15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142"/>
          <a:stretch/>
        </p:blipFill>
        <p:spPr bwMode="auto">
          <a:xfrm>
            <a:off x="7092280" y="44624"/>
            <a:ext cx="1872208" cy="112480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05146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319088" y="441325"/>
            <a:ext cx="8393112" cy="1143000"/>
          </a:xfrm>
        </p:spPr>
        <p:txBody>
          <a:bodyPr/>
          <a:lstStyle/>
          <a:p>
            <a:pPr eaLnBrk="1" hangingPunct="1"/>
            <a:r>
              <a:rPr lang="pl-PL" dirty="0" smtClean="0"/>
              <a:t>Volvo Group IT</a:t>
            </a:r>
            <a:endParaRPr lang="sv-SE" dirty="0" smtClean="0"/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>
          <a:xfrm>
            <a:off x="322263" y="1897208"/>
            <a:ext cx="7772400" cy="3043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5425" indent="-225425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Symbol" pitchFamily="18" charset="2"/>
              <a:buChar char=""/>
              <a:defRPr lang="en-US"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03238" indent="-250825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728663" indent="-211138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SzPct val="90000"/>
              <a:buFont typeface="Symbol" pitchFamily="18" charset="2"/>
              <a:buChar char="·"/>
              <a:defRPr lang="en-US"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81075" indent="-239713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219200" indent="-225425" algn="l" defTabSz="914400" rtl="0" eaLnBrk="1" latinLnBrk="0" hangingPunct="1">
              <a:spcBef>
                <a:spcPts val="1800"/>
              </a:spcBef>
              <a:buClr>
                <a:schemeClr val="tx2"/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30000"/>
              </a:spcBef>
            </a:pPr>
            <a:r>
              <a:rPr lang="pl-PL" dirty="0" smtClean="0"/>
              <a:t>Dostarcza rozwiązania i usługi </a:t>
            </a:r>
            <a:r>
              <a:rPr lang="en-GB" dirty="0" smtClean="0"/>
              <a:t>IT </a:t>
            </a:r>
            <a:r>
              <a:rPr lang="pl-PL" dirty="0" smtClean="0"/>
              <a:t>dla całej grupy Volvo</a:t>
            </a:r>
          </a:p>
          <a:p>
            <a:pPr>
              <a:spcBef>
                <a:spcPct val="30000"/>
              </a:spcBef>
            </a:pPr>
            <a:r>
              <a:rPr lang="pl-PL" dirty="0" smtClean="0"/>
              <a:t>Wspiera wszystkie gałęzie biznesu Volvo (Trucks, </a:t>
            </a:r>
            <a:r>
              <a:rPr lang="pl-PL" dirty="0" err="1" smtClean="0"/>
              <a:t>Buses</a:t>
            </a:r>
            <a:r>
              <a:rPr lang="pl-PL" dirty="0" smtClean="0"/>
              <a:t>, Construction </a:t>
            </a:r>
            <a:r>
              <a:rPr lang="pl-PL" dirty="0" err="1" smtClean="0"/>
              <a:t>Equipment</a:t>
            </a:r>
            <a:r>
              <a:rPr lang="pl-PL" dirty="0" smtClean="0"/>
              <a:t>, </a:t>
            </a:r>
            <a:r>
              <a:rPr lang="pl-PL" dirty="0" err="1" smtClean="0"/>
              <a:t>Penta</a:t>
            </a:r>
            <a:r>
              <a:rPr lang="pl-PL" dirty="0"/>
              <a:t>,</a:t>
            </a:r>
            <a:r>
              <a:rPr lang="pl-PL" dirty="0" smtClean="0"/>
              <a:t> Financial Services, HR, IT)</a:t>
            </a:r>
          </a:p>
          <a:p>
            <a:pPr>
              <a:spcBef>
                <a:spcPct val="30000"/>
              </a:spcBef>
            </a:pPr>
            <a:r>
              <a:rPr lang="pl-PL" dirty="0" smtClean="0"/>
              <a:t>Ponad</a:t>
            </a:r>
            <a:r>
              <a:rPr lang="en-GB" dirty="0" smtClean="0"/>
              <a:t> </a:t>
            </a:r>
            <a:r>
              <a:rPr lang="pl-PL" dirty="0" smtClean="0"/>
              <a:t>8</a:t>
            </a:r>
            <a:r>
              <a:rPr lang="en-GB" dirty="0" smtClean="0"/>
              <a:t>000 </a:t>
            </a:r>
            <a:r>
              <a:rPr lang="pl-PL" dirty="0" smtClean="0"/>
              <a:t>pracowników globalnie, 800 w Polsce</a:t>
            </a:r>
          </a:p>
          <a:p>
            <a:pPr>
              <a:spcBef>
                <a:spcPct val="30000"/>
              </a:spcBef>
            </a:pPr>
            <a:r>
              <a:rPr lang="pl-PL" dirty="0" smtClean="0"/>
              <a:t>Szeroka gama technologii oraz gotowych produktów i aplikacji</a:t>
            </a:r>
            <a:endParaRPr lang="en-GB" dirty="0" smtClean="0"/>
          </a:p>
        </p:txBody>
      </p:sp>
      <p:grpSp>
        <p:nvGrpSpPr>
          <p:cNvPr id="13" name="Group 12"/>
          <p:cNvGrpSpPr/>
          <p:nvPr/>
        </p:nvGrpSpPr>
        <p:grpSpPr>
          <a:xfrm>
            <a:off x="114300" y="4854574"/>
            <a:ext cx="9037638" cy="1260476"/>
            <a:chOff x="114300" y="4863627"/>
            <a:chExt cx="9037638" cy="1260476"/>
          </a:xfrm>
        </p:grpSpPr>
        <p:grpSp>
          <p:nvGrpSpPr>
            <p:cNvPr id="14" name="Group 13"/>
            <p:cNvGrpSpPr/>
            <p:nvPr/>
          </p:nvGrpSpPr>
          <p:grpSpPr>
            <a:xfrm>
              <a:off x="114300" y="4863627"/>
              <a:ext cx="9037638" cy="1260476"/>
              <a:chOff x="114300" y="4854574"/>
              <a:chExt cx="9037638" cy="1260476"/>
            </a:xfrm>
          </p:grpSpPr>
          <p:grpSp>
            <p:nvGrpSpPr>
              <p:cNvPr id="16" name="Group 11"/>
              <p:cNvGrpSpPr>
                <a:grpSpLocks/>
              </p:cNvGrpSpPr>
              <p:nvPr/>
            </p:nvGrpSpPr>
            <p:grpSpPr bwMode="auto">
              <a:xfrm>
                <a:off x="114300" y="4854575"/>
                <a:ext cx="9037638" cy="1260475"/>
                <a:chOff x="72" y="3058"/>
                <a:chExt cx="5693" cy="794"/>
              </a:xfrm>
            </p:grpSpPr>
            <p:pic>
              <p:nvPicPr>
                <p:cNvPr id="18" name="Picture 12" descr="G_3,5x3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49" y="3058"/>
                  <a:ext cx="800" cy="7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19" name="Picture 13" descr="B_3,5x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518" y="3058"/>
                  <a:ext cx="800" cy="7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0" name="Picture 14" descr="C_3,5x3"/>
                <p:cNvPicPr>
                  <a:picLocks noChangeAspect="1" noChangeArrowheads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965" y="3058"/>
                  <a:ext cx="800" cy="7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1" name="Picture 15" descr="D_3,5x3"/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72" y="3058"/>
                  <a:ext cx="800" cy="7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2" name="Picture 16" descr="F_3,5x3"/>
                <p:cNvPicPr>
                  <a:picLocks noChangeAspect="1" noChangeArrowheads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34" y="3058"/>
                  <a:ext cx="800" cy="7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3" name="Picture 17" descr="A_3,5x3"/>
                <p:cNvPicPr>
                  <a:picLocks noChangeAspect="1" noChangeArrowheads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87" y="3058"/>
                  <a:ext cx="800" cy="7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4" name="Picture 18" descr="H_3,5x3"/>
                <p:cNvPicPr>
                  <a:picLocks noChangeAspect="1" noChangeArrowheads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03" y="3058"/>
                  <a:ext cx="800" cy="7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997325" y="4854574"/>
                <a:ext cx="1270000" cy="1260475"/>
              </a:xfrm>
              <a:prstGeom prst="rect">
                <a:avLst/>
              </a:prstGeom>
            </p:spPr>
          </p:pic>
        </p:grp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8113" y="4863627"/>
              <a:ext cx="1270000" cy="12604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01083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" r="11427"/>
          <a:stretch/>
        </p:blipFill>
        <p:spPr>
          <a:xfrm>
            <a:off x="-1" y="0"/>
            <a:ext cx="9143999" cy="612933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noProof="0" smtClean="0"/>
              <a:pPr/>
              <a:t>70</a:t>
            </a:fld>
            <a:endParaRPr lang="en-US" noProof="0" dirty="0"/>
          </a:p>
        </p:txBody>
      </p:sp>
      <p:grpSp>
        <p:nvGrpSpPr>
          <p:cNvPr id="3" name="Group 2"/>
          <p:cNvGrpSpPr/>
          <p:nvPr/>
        </p:nvGrpSpPr>
        <p:grpSpPr>
          <a:xfrm>
            <a:off x="19" y="4683527"/>
            <a:ext cx="5881797" cy="1315318"/>
            <a:chOff x="19" y="4683527"/>
            <a:chExt cx="5881797" cy="1315318"/>
          </a:xfrm>
        </p:grpSpPr>
        <p:sp>
          <p:nvSpPr>
            <p:cNvPr id="11" name="Rectangle 10"/>
            <p:cNvSpPr/>
            <p:nvPr/>
          </p:nvSpPr>
          <p:spPr>
            <a:xfrm>
              <a:off x="19" y="4683527"/>
              <a:ext cx="5881797" cy="1315318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000" smtClean="0">
                <a:solidFill>
                  <a:schemeClr val="tx1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356" y="5039606"/>
              <a:ext cx="586945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pl-PL" sz="3200" b="1" dirty="0" smtClean="0"/>
                <a:t>Pytania?</a:t>
              </a:r>
              <a:endParaRPr lang="sv-SE" sz="3200" dirty="0" smtClean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240923" y="5688378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160494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8" r="11427"/>
          <a:stretch/>
        </p:blipFill>
        <p:spPr>
          <a:xfrm>
            <a:off x="-1" y="0"/>
            <a:ext cx="9143999" cy="6129338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noProof="0" smtClean="0"/>
              <a:pPr/>
              <a:t>71</a:t>
            </a:fld>
            <a:endParaRPr lang="en-US" noProof="0" dirty="0"/>
          </a:p>
        </p:txBody>
      </p:sp>
      <p:grpSp>
        <p:nvGrpSpPr>
          <p:cNvPr id="3" name="Group 2"/>
          <p:cNvGrpSpPr/>
          <p:nvPr/>
        </p:nvGrpSpPr>
        <p:grpSpPr>
          <a:xfrm>
            <a:off x="19" y="4683527"/>
            <a:ext cx="5881797" cy="1547490"/>
            <a:chOff x="19" y="4683527"/>
            <a:chExt cx="5881797" cy="1547490"/>
          </a:xfrm>
        </p:grpSpPr>
        <p:sp>
          <p:nvSpPr>
            <p:cNvPr id="11" name="Rectangle 10"/>
            <p:cNvSpPr/>
            <p:nvPr/>
          </p:nvSpPr>
          <p:spPr>
            <a:xfrm>
              <a:off x="19" y="4683527"/>
              <a:ext cx="5881797" cy="1315318"/>
            </a:xfrm>
            <a:prstGeom prst="rect">
              <a:avLst/>
            </a:prstGeom>
            <a:solidFill>
              <a:schemeClr val="bg1">
                <a:alpha val="79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2000" smtClean="0">
                <a:solidFill>
                  <a:schemeClr val="tx1"/>
                </a:solidFill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12356" y="4692134"/>
              <a:ext cx="5869459" cy="1538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pl-PL" sz="3200" b="1" dirty="0" smtClean="0"/>
                <a:t>Dziękujemy!</a:t>
              </a:r>
            </a:p>
            <a:p>
              <a:pPr algn="ctr">
                <a:spcBef>
                  <a:spcPts val="600"/>
                </a:spcBef>
              </a:pPr>
              <a:endParaRPr lang="pl-PL" sz="400" b="1" dirty="0" smtClean="0"/>
            </a:p>
            <a:p>
              <a:pPr algn="ctr"/>
              <a:r>
                <a:rPr lang="pl-PL" sz="1200" b="1" dirty="0"/>
                <a:t>agnieszka.grodzka</a:t>
              </a:r>
              <a:r>
                <a:rPr lang="en-US" sz="1200" b="1" dirty="0"/>
                <a:t>@volvo.com</a:t>
              </a:r>
              <a:endParaRPr lang="pl-PL" sz="1200" b="1" dirty="0"/>
            </a:p>
            <a:p>
              <a:pPr algn="ctr"/>
              <a:r>
                <a:rPr lang="pl-PL" sz="1200" b="1" dirty="0" smtClean="0"/>
                <a:t>andrzej.zdebik@volvo.com</a:t>
              </a:r>
              <a:endParaRPr lang="pl-PL" sz="1200" b="1" dirty="0"/>
            </a:p>
            <a:p>
              <a:pPr algn="ctr"/>
              <a:r>
                <a:rPr lang="en-US" sz="1200" b="1" dirty="0" smtClean="0"/>
                <a:t>www.volvo.com</a:t>
              </a:r>
              <a:endParaRPr lang="en-US" sz="1200" b="1" dirty="0"/>
            </a:p>
            <a:p>
              <a:pPr algn="ctr">
                <a:spcBef>
                  <a:spcPts val="600"/>
                </a:spcBef>
              </a:pPr>
              <a:endParaRPr lang="sv-SE" sz="1200" dirty="0" smtClean="0"/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4240923" y="5688378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343773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noProof="0" smtClean="0"/>
              <a:pPr/>
              <a:t>8</a:t>
            </a:fld>
            <a:endParaRPr lang="en-US" noProof="0" dirty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319088" y="441325"/>
            <a:ext cx="8393112" cy="11430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en-US" sz="3200" b="1" kern="1200" smtClean="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pl-PL" dirty="0" smtClean="0"/>
              <a:t>Volvo Group IT</a:t>
            </a:r>
            <a:endParaRPr lang="sv-SE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6282" y="1553555"/>
            <a:ext cx="1095376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915" y="2893021"/>
            <a:ext cx="1628974" cy="1628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5082" y="4593024"/>
            <a:ext cx="2556694" cy="6349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4030" y="3142088"/>
            <a:ext cx="1884623" cy="106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2614" y="3501816"/>
            <a:ext cx="1399983" cy="1166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" y="1632614"/>
            <a:ext cx="1326475" cy="8688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763" y="4521995"/>
            <a:ext cx="2035082" cy="1524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0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6564" y="2730300"/>
            <a:ext cx="2612082" cy="574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2" descr="Znalezione obrazy dla zapytania enterprise architect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0226" y="1632614"/>
            <a:ext cx="2268662" cy="6158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4249" y="3275595"/>
            <a:ext cx="1171464" cy="1171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0268" y="5141628"/>
            <a:ext cx="1385186" cy="921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AutoShape 26" descr="Znalezione obrazy dla zapytania mysql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4" name="Picture 27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0366" y="2314346"/>
            <a:ext cx="1152453" cy="841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8370" y="5363431"/>
            <a:ext cx="1314262" cy="579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31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0092" y="1425926"/>
            <a:ext cx="839777" cy="839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7208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19088" y="441325"/>
            <a:ext cx="8397875" cy="1143000"/>
          </a:xfrm>
        </p:spPr>
        <p:txBody>
          <a:bodyPr/>
          <a:lstStyle/>
          <a:p>
            <a:r>
              <a:rPr lang="pl-PL" sz="2400" dirty="0"/>
              <a:t>Grupa </a:t>
            </a:r>
            <a:r>
              <a:rPr lang="pl-PL" sz="2400" dirty="0" smtClean="0"/>
              <a:t>Volvo</a:t>
            </a:r>
            <a:br>
              <a:rPr lang="pl-PL" sz="2400" dirty="0" smtClean="0"/>
            </a:br>
            <a:r>
              <a:rPr lang="pl-PL" sz="1800" dirty="0" smtClean="0"/>
              <a:t>Volvo Polska Sp </a:t>
            </a:r>
            <a:r>
              <a:rPr lang="pl-PL" sz="1800" dirty="0"/>
              <a:t>z</a:t>
            </a:r>
            <a:r>
              <a:rPr lang="pl-PL" sz="1800" dirty="0" smtClean="0"/>
              <a:t>.o.o </a:t>
            </a:r>
            <a:r>
              <a:rPr lang="pl-PL" sz="2400" dirty="0"/>
              <a:t/>
            </a:r>
            <a:br>
              <a:rPr lang="pl-PL" sz="2400" dirty="0"/>
            </a:br>
            <a:r>
              <a:rPr lang="pl-PL" sz="1800" dirty="0" smtClean="0"/>
              <a:t>Wrocław ul. Mydlana 2 </a:t>
            </a:r>
            <a:endParaRPr lang="en-GB" sz="1800" dirty="0">
              <a:latin typeface="+mn-lt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80492" y="1517744"/>
            <a:ext cx="8179940" cy="4590161"/>
            <a:chOff x="280492" y="1340768"/>
            <a:chExt cx="8179940" cy="4590161"/>
          </a:xfrm>
        </p:grpSpPr>
        <p:pic>
          <p:nvPicPr>
            <p:cNvPr id="3074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0492" y="1340768"/>
              <a:ext cx="8179940" cy="45901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Oval 2"/>
            <p:cNvSpPr/>
            <p:nvPr/>
          </p:nvSpPr>
          <p:spPr bwMode="auto">
            <a:xfrm>
              <a:off x="6660232" y="2276872"/>
              <a:ext cx="720080" cy="720080"/>
            </a:xfrm>
            <a:prstGeom prst="ellips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575" y="1527576"/>
            <a:ext cx="8141344" cy="464895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339725" y="6619875"/>
            <a:ext cx="503238" cy="207963"/>
          </a:xfrm>
          <a:prstGeom prst="rect">
            <a:avLst/>
          </a:prstGeom>
        </p:spPr>
        <p:txBody>
          <a:bodyPr/>
          <a:lstStyle/>
          <a:p>
            <a:fld id="{40E9AD42-C178-4DDF-86C3-EDC77BEDCFC5}" type="slidenum">
              <a:rPr lang="en-US" noProof="0" smtClean="0"/>
              <a:pPr/>
              <a:t>9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27316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RXrnkWGUq5g8.Ncz94D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LrQVLfJEkOPsT0XzOnR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JcELKYkib1laTXXyi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Jj8MnEd0aWg_ri9ki3H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tK84x6mka5JjJYIHIG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FkfH70AkOfVT4xJnZS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Jmjgi7CU.W543xrRLo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Mvnx89akeADa4C439V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K9YRaq0a6VO9pG3L5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nRkhKlQEiArJW2qOZu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6nj2SUcU2dbc0EHOlF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NkrA7yfEqKGd3lF13g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sQA4gz3kOXnLUIEv5G3A"/>
</p:tagLst>
</file>

<file path=ppt/theme/theme1.xml><?xml version="1.0" encoding="utf-8"?>
<a:theme xmlns:a="http://schemas.openxmlformats.org/drawingml/2006/main" name="4_Example_Landscape_VolvoIT">
  <a:themeElements>
    <a:clrScheme name="4_Example_Landscape_VolvoIT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FFFFFF"/>
      </a:accent3>
      <a:accent4>
        <a:srgbClr val="000000"/>
      </a:accent4>
      <a:accent5>
        <a:srgbClr val="D5DAE0"/>
      </a:accent5>
      <a:accent6>
        <a:srgbClr val="586C82"/>
      </a:accent6>
      <a:hlink>
        <a:srgbClr val="8FA8A0"/>
      </a:hlink>
      <a:folHlink>
        <a:srgbClr val="C7D3D0"/>
      </a:folHlink>
    </a:clrScheme>
    <a:fontScheme name="4_Example_Landscape_Volvo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4_Example_Landscape_VolvoIT 1">
        <a:dk1>
          <a:srgbClr val="000000"/>
        </a:dk1>
        <a:lt1>
          <a:srgbClr val="FFFFFF"/>
        </a:lt1>
        <a:dk2>
          <a:srgbClr val="616161"/>
        </a:dk2>
        <a:lt2>
          <a:srgbClr val="9D9E9C"/>
        </a:lt2>
        <a:accent1>
          <a:srgbClr val="B1BCC8"/>
        </a:accent1>
        <a:accent2>
          <a:srgbClr val="627890"/>
        </a:accent2>
        <a:accent3>
          <a:srgbClr val="FFFFFF"/>
        </a:accent3>
        <a:accent4>
          <a:srgbClr val="000000"/>
        </a:accent4>
        <a:accent5>
          <a:srgbClr val="D5DAE0"/>
        </a:accent5>
        <a:accent6>
          <a:srgbClr val="586C82"/>
        </a:accent6>
        <a:hlink>
          <a:srgbClr val="8FA8A0"/>
        </a:hlink>
        <a:folHlink>
          <a:srgbClr val="C7D3D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hite_VolvoIT">
  <a:themeElements>
    <a:clrScheme name="White_VolvoIT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FFFFFF"/>
      </a:accent3>
      <a:accent4>
        <a:srgbClr val="000000"/>
      </a:accent4>
      <a:accent5>
        <a:srgbClr val="D5DAE0"/>
      </a:accent5>
      <a:accent6>
        <a:srgbClr val="586C82"/>
      </a:accent6>
      <a:hlink>
        <a:srgbClr val="8FA8A0"/>
      </a:hlink>
      <a:folHlink>
        <a:srgbClr val="C7D3D0"/>
      </a:folHlink>
    </a:clrScheme>
    <a:fontScheme name="White_Volvo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White_VolvoIT 1">
        <a:dk1>
          <a:srgbClr val="000000"/>
        </a:dk1>
        <a:lt1>
          <a:srgbClr val="FFFFFF"/>
        </a:lt1>
        <a:dk2>
          <a:srgbClr val="616161"/>
        </a:dk2>
        <a:lt2>
          <a:srgbClr val="9D9E9C"/>
        </a:lt2>
        <a:accent1>
          <a:srgbClr val="B1BCC8"/>
        </a:accent1>
        <a:accent2>
          <a:srgbClr val="627890"/>
        </a:accent2>
        <a:accent3>
          <a:srgbClr val="FFFFFF"/>
        </a:accent3>
        <a:accent4>
          <a:srgbClr val="000000"/>
        </a:accent4>
        <a:accent5>
          <a:srgbClr val="D5DAE0"/>
        </a:accent5>
        <a:accent6>
          <a:srgbClr val="586C82"/>
        </a:accent6>
        <a:hlink>
          <a:srgbClr val="8FA8A0"/>
        </a:hlink>
        <a:folHlink>
          <a:srgbClr val="C7D3D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Example_Landscape_VolvoIT">
  <a:themeElements>
    <a:clrScheme name="4_Example_Landscape_VolvoIT 1">
      <a:dk1>
        <a:srgbClr val="000000"/>
      </a:dk1>
      <a:lt1>
        <a:srgbClr val="FFFFFF"/>
      </a:lt1>
      <a:dk2>
        <a:srgbClr val="616161"/>
      </a:dk2>
      <a:lt2>
        <a:srgbClr val="9D9E9C"/>
      </a:lt2>
      <a:accent1>
        <a:srgbClr val="B1BCC8"/>
      </a:accent1>
      <a:accent2>
        <a:srgbClr val="627890"/>
      </a:accent2>
      <a:accent3>
        <a:srgbClr val="FFFFFF"/>
      </a:accent3>
      <a:accent4>
        <a:srgbClr val="000000"/>
      </a:accent4>
      <a:accent5>
        <a:srgbClr val="D5DAE0"/>
      </a:accent5>
      <a:accent6>
        <a:srgbClr val="586C82"/>
      </a:accent6>
      <a:hlink>
        <a:srgbClr val="8FA8A0"/>
      </a:hlink>
      <a:folHlink>
        <a:srgbClr val="C7D3D0"/>
      </a:folHlink>
    </a:clrScheme>
    <a:fontScheme name="4_Example_Landscape_VolvoI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sv-S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4_Example_Landscape_VolvoIT 1">
        <a:dk1>
          <a:srgbClr val="000000"/>
        </a:dk1>
        <a:lt1>
          <a:srgbClr val="FFFFFF"/>
        </a:lt1>
        <a:dk2>
          <a:srgbClr val="616161"/>
        </a:dk2>
        <a:lt2>
          <a:srgbClr val="9D9E9C"/>
        </a:lt2>
        <a:accent1>
          <a:srgbClr val="B1BCC8"/>
        </a:accent1>
        <a:accent2>
          <a:srgbClr val="627890"/>
        </a:accent2>
        <a:accent3>
          <a:srgbClr val="FFFFFF"/>
        </a:accent3>
        <a:accent4>
          <a:srgbClr val="000000"/>
        </a:accent4>
        <a:accent5>
          <a:srgbClr val="D5DAE0"/>
        </a:accent5>
        <a:accent6>
          <a:srgbClr val="586C82"/>
        </a:accent6>
        <a:hlink>
          <a:srgbClr val="8FA8A0"/>
        </a:hlink>
        <a:folHlink>
          <a:srgbClr val="C7D3D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218</TotalTime>
  <Words>1659</Words>
  <Application>Microsoft Office PowerPoint</Application>
  <PresentationFormat>On-screen Show (4:3)</PresentationFormat>
  <Paragraphs>603</Paragraphs>
  <Slides>71</Slides>
  <Notes>7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71</vt:i4>
      </vt:variant>
    </vt:vector>
  </HeadingPairs>
  <TitlesOfParts>
    <vt:vector size="74" baseType="lpstr">
      <vt:lpstr>4_Example_Landscape_VolvoIT</vt:lpstr>
      <vt:lpstr>White_VolvoIT</vt:lpstr>
      <vt:lpstr>5_Example_Landscape_VolvoIT</vt:lpstr>
      <vt:lpstr>PowerPoint Presentation</vt:lpstr>
      <vt:lpstr>Agnieszka Grodzka agnieszka.grodzka@volvo.com   </vt:lpstr>
      <vt:lpstr>Andrzej Zdebik andrzej.zdebik@volvo.com</vt:lpstr>
      <vt:lpstr>PowerPoint Presentation</vt:lpstr>
      <vt:lpstr>Grupa Volvo  Nasze marki</vt:lpstr>
      <vt:lpstr>PowerPoint Presentation</vt:lpstr>
      <vt:lpstr>Volvo Group IT</vt:lpstr>
      <vt:lpstr>PowerPoint Presentation</vt:lpstr>
      <vt:lpstr>Grupa Volvo Volvo Polska Sp z.o.o  Wrocław ul. Mydlana 2 </vt:lpstr>
      <vt:lpstr>PowerPoint Presentation</vt:lpstr>
      <vt:lpstr>PowerPoint Presentation</vt:lpstr>
      <vt:lpstr>Agenda</vt:lpstr>
      <vt:lpstr>Proces testowy</vt:lpstr>
      <vt:lpstr>Planowanie i nadzór</vt:lpstr>
      <vt:lpstr>Analiza i projektowanie testów</vt:lpstr>
      <vt:lpstr>Implementacja i wykonanie testów</vt:lpstr>
      <vt:lpstr>Ocena spełnienia kryteriów zakończenia i raportowanie</vt:lpstr>
      <vt:lpstr>Czynności zamykające testy</vt:lpstr>
      <vt:lpstr>Cykle testowe – Model Kaskadowy</vt:lpstr>
      <vt:lpstr>Model V (Model Sekwencyjny)</vt:lpstr>
      <vt:lpstr>Modele Iteracyjno-Przyrostowe</vt:lpstr>
      <vt:lpstr>Jira - Backlog</vt:lpstr>
      <vt:lpstr>Jira – board dla bieżącego sprintu</vt:lpstr>
      <vt:lpstr>Agenda</vt:lpstr>
      <vt:lpstr>Techniki testowe</vt:lpstr>
      <vt:lpstr>Techniki statyczne</vt:lpstr>
      <vt:lpstr>Techniki projektowania testów</vt:lpstr>
      <vt:lpstr>Techniki Black-box Partycje równoważne</vt:lpstr>
      <vt:lpstr>Techniki Black-box Partycje równoważne</vt:lpstr>
      <vt:lpstr>Techniki Black-box Analiza wartości brzegowych</vt:lpstr>
      <vt:lpstr>Techniki Black-box Analiza wartości brzegowych</vt:lpstr>
      <vt:lpstr>Techniki Black-box Tablice decyzyjne</vt:lpstr>
      <vt:lpstr>Techniki Black-box Tablice decyzyjne</vt:lpstr>
      <vt:lpstr>Techniki Black-box Przejścia między stanami</vt:lpstr>
      <vt:lpstr>Techniki Black-box Przejścia między stanami</vt:lpstr>
      <vt:lpstr>Techniki Black-box Przypadki użycia</vt:lpstr>
      <vt:lpstr>Techniki White-box Pokrycie instrukcji</vt:lpstr>
      <vt:lpstr>Techniki White-box Pokrycie decyzji</vt:lpstr>
      <vt:lpstr>Agenda</vt:lpstr>
      <vt:lpstr>Strategia testowa</vt:lpstr>
      <vt:lpstr>Typy strategii testowych</vt:lpstr>
      <vt:lpstr>Typy strategii testowych</vt:lpstr>
      <vt:lpstr>Typy strategii testowych</vt:lpstr>
      <vt:lpstr>Typy strategii testowych</vt:lpstr>
      <vt:lpstr>Struktura testów – typy testów</vt:lpstr>
      <vt:lpstr>Struktura testów – typy testów</vt:lpstr>
      <vt:lpstr>Struktura testów – poziomy testów</vt:lpstr>
      <vt:lpstr>Agenda</vt:lpstr>
      <vt:lpstr>Planowanie i organizacja Master test plan / test plan</vt:lpstr>
      <vt:lpstr>Planowanie i organizacja Podział testów w zespole </vt:lpstr>
      <vt:lpstr>Planowanie i organizacja Harmonogram testowania – Gantt chart  </vt:lpstr>
      <vt:lpstr>Planowanie i organizacja Cykl życia błędu </vt:lpstr>
      <vt:lpstr>Planowanie i organizacja Zgłoszenie błędu </vt:lpstr>
      <vt:lpstr>Planowanie i organizacja Monitorowanie i nadzorowanie testów </vt:lpstr>
      <vt:lpstr>Planowanie i organizacja Przebieg wykonania testów </vt:lpstr>
      <vt:lpstr>Planowanie i organizacja Liczba znalezionych, naprawionych błędów </vt:lpstr>
      <vt:lpstr>Planowanie i organizacja Skład zespołu testowego </vt:lpstr>
      <vt:lpstr>Planowanie i organizacja Raport z testów </vt:lpstr>
      <vt:lpstr>Agenda</vt:lpstr>
      <vt:lpstr>Metryki testowe</vt:lpstr>
      <vt:lpstr>Narzędzia testowe</vt:lpstr>
      <vt:lpstr>Jira – narzędzie do śledzenia defektów</vt:lpstr>
      <vt:lpstr>Jira – filtrowanie defektów</vt:lpstr>
      <vt:lpstr>Jira – statystyki testowe</vt:lpstr>
      <vt:lpstr>HP Quality Center  - baza przypadków testowych</vt:lpstr>
      <vt:lpstr>HP Quality Center  - śledzenie rezultatów testów</vt:lpstr>
      <vt:lpstr>HP Quality Center  - progres testów</vt:lpstr>
      <vt:lpstr>HP Quality Center  - statystyki testowe</vt:lpstr>
      <vt:lpstr>PROGRAM PRAKTYK LETNICH  lipiec – wrzesień 2018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Zajac Piotr</dc:creator>
  <cp:lastModifiedBy>Zdebik Andrzej</cp:lastModifiedBy>
  <cp:revision>653</cp:revision>
  <cp:lastPrinted>2017-01-25T09:48:08Z</cp:lastPrinted>
  <dcterms:created xsi:type="dcterms:W3CDTF">2013-11-25T08:03:15Z</dcterms:created>
  <dcterms:modified xsi:type="dcterms:W3CDTF">2017-12-02T13:05:08Z</dcterms:modified>
</cp:coreProperties>
</file>